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3"/>
  </p:notesMasterIdLst>
  <p:handoutMasterIdLst>
    <p:handoutMasterId r:id="rId14"/>
  </p:handoutMasterIdLst>
  <p:sldIdLst>
    <p:sldId id="433" r:id="rId2"/>
    <p:sldId id="434" r:id="rId3"/>
    <p:sldId id="435" r:id="rId4"/>
    <p:sldId id="436" r:id="rId5"/>
    <p:sldId id="437" r:id="rId6"/>
    <p:sldId id="438" r:id="rId7"/>
    <p:sldId id="439" r:id="rId8"/>
    <p:sldId id="440" r:id="rId9"/>
    <p:sldId id="441" r:id="rId10"/>
    <p:sldId id="442" r:id="rId11"/>
    <p:sldId id="443" r:id="rId12"/>
  </p:sldIdLst>
  <p:sldSz cx="9144000" cy="6858000" type="screen4x3"/>
  <p:notesSz cx="6718300" cy="9855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014A13F2-5EFA-49B0-88F3-20EAB2D05807}">
          <p14:sldIdLst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  <p14:sldId id="44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59C"/>
    <a:srgbClr val="EE7F00"/>
    <a:srgbClr val="005596"/>
    <a:srgbClr val="004788"/>
    <a:srgbClr val="A6A6A6"/>
    <a:srgbClr val="BFBFBF"/>
    <a:srgbClr val="585858"/>
    <a:srgbClr val="39A9DC"/>
    <a:srgbClr val="17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368" autoAdjust="0"/>
    <p:restoredTop sz="86633" autoAdjust="0"/>
  </p:normalViewPr>
  <p:slideViewPr>
    <p:cSldViewPr snapToObjects="1" showGuides="1">
      <p:cViewPr varScale="1">
        <p:scale>
          <a:sx n="115" d="100"/>
          <a:sy n="115" d="100"/>
        </p:scale>
        <p:origin x="-1524" y="-114"/>
      </p:cViewPr>
      <p:guideLst>
        <p:guide orient="horz" pos="2160"/>
        <p:guide orient="horz" pos="3317"/>
        <p:guide orient="horz" pos="2478"/>
        <p:guide orient="horz" pos="822"/>
        <p:guide orient="horz" pos="3498"/>
        <p:guide pos="3356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822"/>
    </p:cViewPr>
  </p:sorterViewPr>
  <p:notesViewPr>
    <p:cSldViewPr snapToObjects="1" showGuides="1">
      <p:cViewPr varScale="1">
        <p:scale>
          <a:sx n="63" d="100"/>
          <a:sy n="63" d="100"/>
        </p:scale>
        <p:origin x="-3084" y="-102"/>
      </p:cViewPr>
      <p:guideLst>
        <p:guide orient="horz" pos="3104"/>
        <p:guide pos="211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56DD5F0F-3C24-4D80-A625-C5BFD811132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790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8" y="0"/>
            <a:ext cx="2911995" cy="49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8525" y="741363"/>
            <a:ext cx="4921250" cy="3692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8" y="4680946"/>
            <a:ext cx="5375267" cy="443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100" dirty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8" y="9360313"/>
            <a:ext cx="2911995" cy="49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01" tIns="45301" rIns="90601" bIns="453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+mn-cs"/>
              </a:defRPr>
            </a:lvl1pPr>
          </a:lstStyle>
          <a:p>
            <a:pPr>
              <a:defRPr/>
            </a:pPr>
            <a:fld id="{DA859317-F8E0-4391-80D7-7DC94CFB279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84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50913" y="771525"/>
            <a:ext cx="4872037" cy="3654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880349" y="4705913"/>
            <a:ext cx="4943495" cy="4424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0"/>
          <p:cNvSpPr>
            <a:spLocks noGrp="1"/>
          </p:cNvSpPr>
          <p:nvPr>
            <p:ph type="body" sz="quarter" idx="16"/>
          </p:nvPr>
        </p:nvSpPr>
        <p:spPr>
          <a:xfrm>
            <a:off x="252480" y="1449388"/>
            <a:ext cx="8640000" cy="5003800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36F17E0-72CE-4A72-A0B1-86BD3E596985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4" y="3198402"/>
            <a:ext cx="3420951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Kenntnisse und Themenschwerpunkte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kt Erfahrung (Auszug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Vor und Nach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el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3CB3001C-822E-4E3E-9983-625262E8B34B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717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6455" y="1484313"/>
            <a:ext cx="2486025" cy="4860925"/>
          </a:xfrm>
          <a:prstGeom prst="rect">
            <a:avLst/>
          </a:prstGeom>
        </p:spPr>
      </p:pic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C1E71EE7-DD5C-4B3B-B3AE-761EF5A24D33}" type="datetime1">
              <a:rPr lang="de-DE" smtClean="0"/>
              <a:t>17.05.20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44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-508" y="8620"/>
            <a:ext cx="9145016" cy="1656184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9144509" cy="686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15"/>
          <p:cNvSpPr/>
          <p:nvPr userDrawn="1"/>
        </p:nvSpPr>
        <p:spPr bwMode="auto">
          <a:xfrm>
            <a:off x="0" y="4572508"/>
            <a:ext cx="9144508" cy="2291430"/>
          </a:xfrm>
          <a:prstGeom prst="rect">
            <a:avLst/>
          </a:prstGeom>
          <a:solidFill>
            <a:srgbClr val="A6A6A6">
              <a:alpha val="80000"/>
            </a:srgb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dirty="0" smtClean="0">
              <a:sym typeface="Arial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19" y="5651068"/>
            <a:ext cx="8640000" cy="73026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buNone/>
              <a:defRPr sz="16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, etc </a:t>
            </a:r>
            <a:r>
              <a:rPr lang="de-DE" dirty="0" smtClean="0"/>
              <a:t>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1519" y="4833156"/>
            <a:ext cx="8640000" cy="7920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>
              <a:buNone/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Headline (Arial, 24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</a:p>
        </p:txBody>
      </p:sp>
      <p:sp>
        <p:nvSpPr>
          <p:cNvPr id="18" name="Rechteck 2"/>
          <p:cNvSpPr/>
          <p:nvPr userDrawn="1"/>
        </p:nvSpPr>
        <p:spPr bwMode="gray">
          <a:xfrm>
            <a:off x="6882972" y="6417332"/>
            <a:ext cx="2052638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de-DE" sz="1000" b="0" dirty="0" smtClean="0">
                <a:solidFill>
                  <a:schemeClr val="bg1"/>
                </a:solidFill>
                <a:cs typeface="+mn-cs"/>
              </a:rPr>
              <a:t>© Faktor Zehn AG 2012</a:t>
            </a:r>
            <a:endParaRPr lang="de-DE" sz="1000" b="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1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Logo_blau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622996" y="297026"/>
            <a:ext cx="2089464" cy="719705"/>
          </a:xfrm>
          <a:prstGeom prst="rect">
            <a:avLst/>
          </a:prstGeom>
          <a:effectLst>
            <a:outerShdw sx="1000" sy="1000" algn="tl" rotWithShape="0">
              <a:prstClr val="black"/>
            </a:outerShdw>
          </a:effec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80" y="-11507"/>
            <a:ext cx="9172391" cy="687600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44284" y="6677130"/>
            <a:ext cx="8612192" cy="180870"/>
          </a:xfrm>
          <a:prstGeom prst="rect">
            <a:avLst/>
          </a:prstGeom>
        </p:spPr>
        <p:txBody>
          <a:bodyPr wrap="square" lIns="0" tIns="0" rIns="36000" bIns="0" anchor="ctr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noProof="0" dirty="0" smtClean="0">
                <a:solidFill>
                  <a:schemeClr val="tx1"/>
                </a:solidFill>
              </a:rPr>
              <a:t>Germany 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witzerland  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</a:t>
            </a:r>
            <a:r>
              <a:rPr lang="en-US" sz="800" b="1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UK 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 South Africa      Austria      Spain      USA      Hungary  </a:t>
            </a:r>
            <a:r>
              <a:rPr lang="en-US" sz="800" b="1" noProof="0" dirty="0" smtClean="0">
                <a:solidFill>
                  <a:schemeClr val="tx1"/>
                </a:solidFill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  </a:t>
            </a:r>
            <a:r>
              <a:rPr lang="en-US" sz="800" b="1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  <a:sym typeface="Wingdings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sym typeface="Wingdings"/>
              </a:rPr>
              <a:t>Russia      Serbia      Italy</a:t>
            </a:r>
            <a:r>
              <a:rPr lang="en-US" sz="800" b="1" baseline="0" noProof="0" dirty="0" smtClean="0">
                <a:solidFill>
                  <a:schemeClr val="tx1"/>
                </a:solidFill>
                <a:sym typeface="Wingdings"/>
              </a:rPr>
              <a:t> </a:t>
            </a:r>
            <a:endParaRPr lang="en-US" sz="800" b="1" kern="1200" noProof="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7893" y="2420888"/>
            <a:ext cx="4948214" cy="1310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868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284" y="1448780"/>
            <a:ext cx="8640000" cy="524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-508" y="620688"/>
            <a:ext cx="9145016" cy="6995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144000" rIns="36000" bIns="36000" rtlCol="0" anchor="t"/>
          <a:lstStyle/>
          <a:p>
            <a:pPr marL="180975" indent="-180975" algn="ctr">
              <a:lnSpc>
                <a:spcPct val="90000"/>
              </a:lnSpc>
              <a:spcBef>
                <a:spcPts val="500"/>
              </a:spcBef>
              <a:buClr>
                <a:srgbClr val="FF9900"/>
              </a:buClr>
              <a:buSzPct val="150000"/>
              <a:buFont typeface="Wingdings" pitchFamily="2" charset="2"/>
              <a:buChar char="§"/>
            </a:pPr>
            <a:endParaRPr lang="de-DE" sz="1100" b="0" u="none" cap="none" spc="0" dirty="0" smtClean="0">
              <a:ln w="1841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/>
              <a:sym typeface="Arial" charset="0"/>
            </a:endParaRPr>
          </a:p>
        </p:txBody>
      </p:sp>
      <p:pic>
        <p:nvPicPr>
          <p:cNvPr id="9" name="Picture 2" descr="C:\Users\aodenthal\Desktop\Logo_Faktor Zehn_Alle Dateiformate\Logo_Faktor Zehn_Alle Dateiformate\Blau_Grau\Faktor_Zehn_Logo_August_2012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74436"/>
            <a:ext cx="306000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FF8BBCC-0EC8-4DFF-8FDC-3073D5B17AAC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611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433689E3-D579-4BA2-9132-B892ED4D7B5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250825" y="1808163"/>
            <a:ext cx="8640763" cy="468153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C795232-1FD3-4085-9522-8F7E6AC6DC52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283968" y="6678000"/>
            <a:ext cx="576064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III.F-</a:t>
            </a:r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61494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5D69E8C7-3CF4-4008-AF8E-FDE4EB372DA1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480" y="1228081"/>
            <a:ext cx="8640000" cy="432000"/>
          </a:xfrm>
        </p:spPr>
        <p:txBody>
          <a:bodyPr anchor="ctr" anchorCtr="0"/>
          <a:lstStyle>
            <a:lvl1pPr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ubheader (Arial, 18 </a:t>
            </a:r>
            <a:r>
              <a:rPr lang="de-DE" dirty="0" err="1" smtClean="0"/>
              <a:t>pt</a:t>
            </a:r>
            <a:r>
              <a:rPr lang="de-DE" dirty="0" smtClean="0"/>
              <a:t>, </a:t>
            </a:r>
            <a:r>
              <a:rPr lang="de-DE" dirty="0" err="1" smtClean="0"/>
              <a:t>bol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9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6FC65E39-B0CD-436F-A692-B4A204F0EEF8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25" y="1089466"/>
            <a:ext cx="8640000" cy="5585551"/>
          </a:xfrm>
          <a:prstGeom prst="rect">
            <a:avLst/>
          </a:prstGeom>
        </p:spPr>
      </p:pic>
      <p:sp>
        <p:nvSpPr>
          <p:cNvPr id="11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06745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o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BFAB0B50-413D-4DB5-A8B6-387593CD2D3E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Picture 2"/>
          <p:cNvPicPr preferRelativeResize="0"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52000" y="1088740"/>
            <a:ext cx="8640000" cy="558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5506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format text (Arial, 14 pt)</a:t>
            </a:r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 noProof="0" smtClean="0"/>
              <a:t>Add picture by clicking graphic symbol</a:t>
            </a:r>
            <a:endParaRPr lang="en-US" noProof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Customer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Line of Business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Period of Time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1" kern="120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Your Contact</a:t>
            </a:r>
            <a:r>
              <a:rPr lang="en-US" sz="1200" b="1" kern="1200" baseline="0" noProof="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 Person</a:t>
            </a:r>
            <a:endParaRPr lang="en-US" sz="1200" b="1" kern="1200" noProof="0" dirty="0" smtClean="0">
              <a:solidFill>
                <a:srgbClr val="00559C"/>
              </a:solidFill>
              <a:latin typeface="+mn-lt"/>
              <a:ea typeface="+mn-ea"/>
              <a:cs typeface="Arial" charset="0"/>
            </a:endParaRP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noProof="0" dirty="0" smtClean="0"/>
              <a:t>Click to format text (Arial, 10,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200" b="0" kern="1200" noProof="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th (s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050" b="0" kern="1200" noProof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D0BE3E73-322C-429F-91B9-0AC758F5B917}" type="datetime1">
              <a:rPr lang="de-DE" smtClean="0"/>
              <a:t>17.05.2013</a:t>
            </a:fld>
            <a:endParaRPr lang="de-DE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88825" y="1628800"/>
            <a:ext cx="5011267" cy="471146"/>
          </a:xfrm>
        </p:spPr>
        <p:txBody>
          <a:bodyPr lIns="3600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rgbClr val="00559C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5" name="Textplatzhalt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88825" y="2127771"/>
            <a:ext cx="5011267" cy="775012"/>
          </a:xfrm>
        </p:spPr>
        <p:txBody>
          <a:bodyPr l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4 pt)</a:t>
            </a:r>
            <a:endParaRPr lang="de-DE" dirty="0" smtClean="0"/>
          </a:p>
        </p:txBody>
      </p:sp>
      <p:sp>
        <p:nvSpPr>
          <p:cNvPr id="6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388825" y="2930608"/>
            <a:ext cx="5011267" cy="3113793"/>
          </a:xfrm>
        </p:spPr>
        <p:txBody>
          <a:bodyPr lIns="36000" anchor="t" anchorCtr="0"/>
          <a:lstStyle>
            <a:lvl1pPr marL="0" indent="0" algn="just">
              <a:lnSpc>
                <a:spcPct val="100000"/>
              </a:lnSpc>
              <a:buFontTx/>
              <a:buNone/>
              <a:defRPr sz="1200" b="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7" name="Inhaltsplatzhalter 20"/>
          <p:cNvSpPr>
            <a:spLocks noGrp="1"/>
          </p:cNvSpPr>
          <p:nvPr>
            <p:ph sz="quarter" idx="13" hasCustomPrompt="1"/>
          </p:nvPr>
        </p:nvSpPr>
        <p:spPr>
          <a:xfrm>
            <a:off x="5652120" y="1630215"/>
            <a:ext cx="1638000" cy="1249200"/>
          </a:xfrm>
          <a:noFill/>
          <a:ln w="9525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72000"/>
          <a:lstStyle>
            <a:lvl1pPr marL="0" indent="0" algn="l">
              <a:buFontTx/>
              <a:buNone/>
              <a:defRPr sz="1200" baseline="0">
                <a:solidFill>
                  <a:srgbClr val="00559C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3850" y="3356992"/>
            <a:ext cx="891298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Kunde</a:t>
            </a:r>
          </a:p>
        </p:txBody>
      </p:sp>
      <p:sp>
        <p:nvSpPr>
          <p:cNvPr id="13" name="Textplatzhalter 40"/>
          <p:cNvSpPr>
            <a:spLocks noGrp="1"/>
          </p:cNvSpPr>
          <p:nvPr>
            <p:ph type="body" sz="quarter" idx="18" hasCustomPrompt="1"/>
          </p:nvPr>
        </p:nvSpPr>
        <p:spPr>
          <a:xfrm>
            <a:off x="5663849" y="3556293"/>
            <a:ext cx="3068206" cy="38109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2" name="Textfeld 31"/>
          <p:cNvSpPr txBox="1"/>
          <p:nvPr userDrawn="1"/>
        </p:nvSpPr>
        <p:spPr>
          <a:xfrm>
            <a:off x="5663850" y="4014226"/>
            <a:ext cx="14386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Branche</a:t>
            </a:r>
          </a:p>
        </p:txBody>
      </p:sp>
      <p:sp>
        <p:nvSpPr>
          <p:cNvPr id="33" name="Textplatzhalter 40"/>
          <p:cNvSpPr>
            <a:spLocks noGrp="1"/>
          </p:cNvSpPr>
          <p:nvPr>
            <p:ph type="body" sz="quarter" idx="29" hasCustomPrompt="1"/>
          </p:nvPr>
        </p:nvSpPr>
        <p:spPr>
          <a:xfrm>
            <a:off x="5663849" y="4213527"/>
            <a:ext cx="3068206" cy="381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buFontTx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5663850" y="4586890"/>
            <a:ext cx="126403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Zeitraum</a:t>
            </a:r>
          </a:p>
        </p:txBody>
      </p:sp>
      <p:sp>
        <p:nvSpPr>
          <p:cNvPr id="35" name="Textplatzhalter 40"/>
          <p:cNvSpPr>
            <a:spLocks noGrp="1"/>
          </p:cNvSpPr>
          <p:nvPr>
            <p:ph type="body" sz="quarter" idx="30" hasCustomPrompt="1"/>
          </p:nvPr>
        </p:nvSpPr>
        <p:spPr>
          <a:xfrm>
            <a:off x="5663850" y="4798248"/>
            <a:ext cx="301834" cy="288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00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5663850" y="5095231"/>
            <a:ext cx="313873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1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Ihre Kontaktperson</a:t>
            </a:r>
          </a:p>
        </p:txBody>
      </p:sp>
      <p:sp>
        <p:nvSpPr>
          <p:cNvPr id="37" name="Textplatzhalter 40"/>
          <p:cNvSpPr>
            <a:spLocks noGrp="1"/>
          </p:cNvSpPr>
          <p:nvPr>
            <p:ph type="body" sz="quarter" idx="31" hasCustomPrompt="1"/>
          </p:nvPr>
        </p:nvSpPr>
        <p:spPr>
          <a:xfrm>
            <a:off x="5663849" y="5294532"/>
            <a:ext cx="3060000" cy="396000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2 pt)</a:t>
            </a:r>
            <a:endParaRPr lang="de-DE" dirty="0" smtClean="0"/>
          </a:p>
        </p:txBody>
      </p:sp>
      <p:sp>
        <p:nvSpPr>
          <p:cNvPr id="39" name="Textplatzhalter 40"/>
          <p:cNvSpPr>
            <a:spLocks noGrp="1"/>
          </p:cNvSpPr>
          <p:nvPr>
            <p:ph type="body" sz="quarter" idx="32" hasCustomPrompt="1"/>
          </p:nvPr>
        </p:nvSpPr>
        <p:spPr>
          <a:xfrm>
            <a:off x="6133842" y="5773650"/>
            <a:ext cx="2591058" cy="322350"/>
          </a:xfrm>
        </p:spPr>
        <p:txBody>
          <a:bodyPr lIns="36000" tIns="36000" rIns="36000" bIns="36000" anchor="ctr" anchorCtr="0"/>
          <a:lstStyle>
            <a:lvl1pPr marL="0" indent="0" algn="l">
              <a:lnSpc>
                <a:spcPct val="100000"/>
              </a:lnSpc>
              <a:buFontTx/>
              <a:buNone/>
              <a:defRPr sz="1050">
                <a:solidFill>
                  <a:schemeClr val="tx2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Click to format text (Arial, 10,5 pt)</a:t>
            </a:r>
            <a:endParaRPr lang="de-DE" dirty="0" smtClean="0"/>
          </a:p>
        </p:txBody>
      </p:sp>
      <p:sp>
        <p:nvSpPr>
          <p:cNvPr id="40" name="Textfeld 39"/>
          <p:cNvSpPr txBox="1"/>
          <p:nvPr userDrawn="1"/>
        </p:nvSpPr>
        <p:spPr>
          <a:xfrm>
            <a:off x="5968820" y="4798248"/>
            <a:ext cx="76341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200" b="0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Monat (e)</a:t>
            </a:r>
          </a:p>
        </p:txBody>
      </p:sp>
      <p:sp>
        <p:nvSpPr>
          <p:cNvPr id="41" name="Textfeld 40"/>
          <p:cNvSpPr txBox="1"/>
          <p:nvPr userDrawn="1"/>
        </p:nvSpPr>
        <p:spPr>
          <a:xfrm>
            <a:off x="5663849" y="5823988"/>
            <a:ext cx="522441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050" b="0" kern="1200" dirty="0" smtClean="0">
                <a:solidFill>
                  <a:srgbClr val="00559C"/>
                </a:solidFill>
                <a:latin typeface="+mn-lt"/>
                <a:ea typeface="+mn-ea"/>
                <a:cs typeface="Arial" charset="0"/>
              </a:rPr>
              <a:t>E-Mail:</a:t>
            </a: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2877DEB5-33CD-4B7D-948D-FCAD754C30F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077524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Pager Profile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394965" y="3198402"/>
            <a:ext cx="3282946" cy="2666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857250" ea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tabLst>
                <a:tab pos="1163638" algn="l"/>
              </a:tabLst>
            </a:pPr>
            <a:r>
              <a:rPr lang="de-DE" sz="1400" b="1" dirty="0" smtClean="0">
                <a:solidFill>
                  <a:srgbClr val="00559C"/>
                </a:solidFill>
              </a:rPr>
              <a:t>Skills and Main Topics</a:t>
            </a:r>
            <a:endParaRPr lang="de-DE" sz="1400" b="1" dirty="0">
              <a:solidFill>
                <a:srgbClr val="00559C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72062" y="1628800"/>
            <a:ext cx="3114675" cy="26924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88913" marR="0" lvl="1" indent="-187325" algn="l" defTabSz="85725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80000"/>
              <a:buFontTx/>
              <a:buNone/>
              <a:tabLst>
                <a:tab pos="1163638" algn="l"/>
              </a:tabLst>
              <a:defRPr/>
            </a:pP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Project Experience  (</a:t>
            </a:r>
            <a:r>
              <a:rPr lang="de-DE" sz="1400" b="1" kern="1200" dirty="0" err="1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Extract</a:t>
            </a:r>
            <a:r>
              <a:rPr lang="de-DE" sz="1400" b="1" kern="1200" dirty="0" smtClean="0">
                <a:solidFill>
                  <a:srgbClr val="00559C"/>
                </a:solidFill>
                <a:latin typeface="Arial" charset="0"/>
                <a:ea typeface="+mn-ea"/>
                <a:cs typeface="Arial" charset="0"/>
              </a:rPr>
              <a:t>)</a:t>
            </a:r>
            <a:endParaRPr lang="de-DE" sz="1400" b="1" kern="1200" dirty="0">
              <a:solidFill>
                <a:srgbClr val="00559C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Inhaltsplatzhalter 26"/>
          <p:cNvSpPr>
            <a:spLocks noGrp="1"/>
          </p:cNvSpPr>
          <p:nvPr userDrawn="1">
            <p:ph sz="quarter" idx="21" hasCustomPrompt="1"/>
          </p:nvPr>
        </p:nvSpPr>
        <p:spPr>
          <a:xfrm>
            <a:off x="395536" y="1628800"/>
            <a:ext cx="1214790" cy="1362075"/>
          </a:xfrm>
        </p:spPr>
        <p:txBody>
          <a:bodyPr/>
          <a:lstStyle>
            <a:lvl1pPr marL="0" indent="0">
              <a:lnSpc>
                <a:spcPts val="1200"/>
              </a:lnSpc>
              <a:buNone/>
              <a:defRPr sz="800">
                <a:solidFill>
                  <a:srgbClr val="00559C"/>
                </a:solidFill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/>
            <a:r>
              <a:rPr lang="de-DE" dirty="0" smtClean="0"/>
              <a:t>Add </a:t>
            </a:r>
            <a:r>
              <a:rPr lang="de-DE" dirty="0" err="1" smtClean="0"/>
              <a:t>picture</a:t>
            </a:r>
            <a:r>
              <a:rPr lang="de-DE" dirty="0" smtClean="0"/>
              <a:t> by </a:t>
            </a:r>
            <a:r>
              <a:rPr lang="de-DE" dirty="0" err="1" smtClean="0"/>
              <a:t>clicking</a:t>
            </a:r>
            <a:r>
              <a:rPr lang="de-DE" dirty="0" smtClean="0"/>
              <a:t> </a:t>
            </a:r>
            <a:r>
              <a:rPr lang="de-DE" dirty="0" err="1" smtClean="0"/>
              <a:t>graphic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endParaRPr lang="de-DE" dirty="0"/>
          </a:p>
        </p:txBody>
      </p:sp>
      <p:sp>
        <p:nvSpPr>
          <p:cNvPr id="25" name="Textplatzhalter 40"/>
          <p:cNvSpPr>
            <a:spLocks noGrp="1"/>
          </p:cNvSpPr>
          <p:nvPr>
            <p:ph type="body" sz="quarter" idx="25" hasCustomPrompt="1"/>
          </p:nvPr>
        </p:nvSpPr>
        <p:spPr>
          <a:xfrm>
            <a:off x="1753660" y="1628800"/>
            <a:ext cx="2638288" cy="657225"/>
          </a:xfrm>
        </p:spPr>
        <p:txBody>
          <a:bodyPr lIns="36000" tIns="36000" rIns="36000" bIns="36000" anchor="t" anchorCtr="0"/>
          <a:lstStyle>
            <a:lvl1pPr marL="0" indent="0">
              <a:lnSpc>
                <a:spcPct val="100000"/>
              </a:lnSpc>
              <a:buFontTx/>
              <a:buNone/>
              <a:defRPr sz="1400" b="1" baseline="0">
                <a:solidFill>
                  <a:srgbClr val="00559C"/>
                </a:solidFill>
              </a:defRPr>
            </a:lvl1pPr>
            <a:lvl2pPr>
              <a:buFontTx/>
              <a:buNone/>
              <a:defRPr sz="1200"/>
            </a:lvl2pPr>
            <a:lvl3pPr>
              <a:buFontTx/>
              <a:buNone/>
              <a:defRPr sz="1200"/>
            </a:lvl3pPr>
            <a:lvl4pPr>
              <a:buFontTx/>
              <a:buNone/>
              <a:defRPr sz="1200"/>
            </a:lvl4pPr>
            <a:lvl5pPr>
              <a:buFontTx/>
              <a:buNone/>
              <a:defRPr sz="1200"/>
            </a:lvl5pPr>
          </a:lstStyle>
          <a:p>
            <a:pPr lvl="0"/>
            <a:r>
              <a:rPr lang="de-DE" dirty="0" smtClean="0"/>
              <a:t>First and Family Name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26" hasCustomPrompt="1"/>
          </p:nvPr>
        </p:nvSpPr>
        <p:spPr>
          <a:xfrm>
            <a:off x="1754182" y="2312876"/>
            <a:ext cx="2637798" cy="412731"/>
          </a:xfrm>
        </p:spPr>
        <p:txBody>
          <a:bodyPr lIns="36000" tIns="36000" rIns="36000" bIns="36000"/>
          <a:lstStyle>
            <a:lvl1pPr>
              <a:buClr>
                <a:schemeClr val="tx2"/>
              </a:buClr>
              <a:defRPr sz="12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itle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250824" y="1449388"/>
            <a:ext cx="8640000" cy="4679396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FE661510-6339-40B4-B3FE-1C998C54867B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1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94965" y="3465004"/>
            <a:ext cx="3997015" cy="26684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lang="de-DE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 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7" hasCustomPrompt="1"/>
            <p:custDataLst>
              <p:tags r:id="rId2"/>
            </p:custDataLst>
          </p:nvPr>
        </p:nvSpPr>
        <p:spPr>
          <a:xfrm>
            <a:off x="4572000" y="1916832"/>
            <a:ext cx="4144488" cy="421195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None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4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Symbol" pitchFamily="18" charset="2"/>
              <a:buNone/>
              <a:defRPr kumimoji="1" lang="de-DE" sz="1200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  <a:defRPr kumimoji="1" lang="de-DE" sz="1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pitchFamily="2" charset="2"/>
              <a:buNone/>
              <a:defRPr kumimoji="1" lang="de-DE" sz="12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40000" indent="-180000">
              <a:buFont typeface="Wingdings" pitchFamily="2" charset="2"/>
              <a:buChar char="§"/>
              <a:defRPr sz="1200"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 marL="720000" indent="-180000"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1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4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Bullet (Arial, 12 </a:t>
            </a:r>
            <a:r>
              <a:rPr lang="de-DE" dirty="0" err="1" smtClean="0"/>
              <a:t>pt</a:t>
            </a:r>
            <a:r>
              <a:rPr lang="de-DE" dirty="0" smtClean="0"/>
              <a:t>) </a:t>
            </a:r>
          </a:p>
        </p:txBody>
      </p:sp>
      <p:sp>
        <p:nvSpPr>
          <p:cNvPr id="20" name="Titelplatzhalter 21"/>
          <p:cNvSpPr>
            <a:spLocks noGrp="1"/>
          </p:cNvSpPr>
          <p:nvPr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>
          <a:outerShdw dist="107763" dir="2700000" algn="ctr" rotWithShape="0">
            <a:srgbClr val="000000"/>
          </a:outerShdw>
        </a:effectLst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1520" y="667800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2"/>
          <p:cNvPicPr preferRelativeResize="0">
            <a:picLocks noChangeArrowheads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448" b="67104"/>
          <a:stretch/>
        </p:blipFill>
        <p:spPr bwMode="auto">
          <a:xfrm>
            <a:off x="252000" y="0"/>
            <a:ext cx="8640215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0" name="Textplatzhalter 24"/>
          <p:cNvSpPr>
            <a:spLocks noGrp="1"/>
          </p:cNvSpPr>
          <p:nvPr userDrawn="1">
            <p:ph type="body" idx="1"/>
          </p:nvPr>
        </p:nvSpPr>
        <p:spPr bwMode="auto">
          <a:xfrm>
            <a:off x="250825" y="1449388"/>
            <a:ext cx="86400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First </a:t>
            </a:r>
            <a:r>
              <a:rPr lang="de-DE" dirty="0" err="1" smtClean="0"/>
              <a:t>level</a:t>
            </a:r>
            <a:r>
              <a:rPr lang="de-DE" dirty="0" smtClean="0"/>
              <a:t> (Arial, 16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1"/>
            <a:r>
              <a:rPr lang="de-DE" sz="1600" dirty="0" smtClean="0"/>
              <a:t>First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bullet</a:t>
            </a:r>
            <a:r>
              <a:rPr lang="de-DE" sz="1600" dirty="0" smtClean="0"/>
              <a:t> (Arial, 16 </a:t>
            </a:r>
            <a:r>
              <a:rPr lang="de-DE" sz="1600" dirty="0" err="1" smtClean="0"/>
              <a:t>pt</a:t>
            </a:r>
            <a:r>
              <a:rPr lang="de-DE" sz="1600" dirty="0" smtClean="0"/>
              <a:t>)</a:t>
            </a:r>
          </a:p>
          <a:p>
            <a:pPr lvl="2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3"/>
            <a:r>
              <a:rPr lang="de-DE" sz="1400" dirty="0" smtClean="0"/>
              <a:t>Secon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 err="1" smtClean="0"/>
              <a:t>bulles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4"/>
            <a:r>
              <a:rPr lang="de-DE" sz="1400" dirty="0" smtClean="0"/>
              <a:t>Third </a:t>
            </a:r>
            <a:r>
              <a:rPr lang="de-DE" sz="1400" dirty="0" err="1" smtClean="0"/>
              <a:t>level</a:t>
            </a:r>
            <a:r>
              <a:rPr lang="de-DE" sz="1400" dirty="0" smtClean="0"/>
              <a:t> (Arial, 14 </a:t>
            </a:r>
            <a:r>
              <a:rPr lang="de-DE" sz="1400" dirty="0" err="1" smtClean="0"/>
              <a:t>pt</a:t>
            </a:r>
            <a:r>
              <a:rPr lang="de-DE" sz="1400" dirty="0" smtClean="0"/>
              <a:t>)</a:t>
            </a:r>
          </a:p>
          <a:p>
            <a:pPr lvl="5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4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6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7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bulles</a:t>
            </a:r>
            <a:r>
              <a:rPr lang="de-DE" dirty="0" smtClean="0"/>
              <a:t> (Arial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  <a:p>
            <a:pPr lvl="8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(Arial, 1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683588" y="6677130"/>
            <a:ext cx="180000" cy="18000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 |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840252" y="6677130"/>
            <a:ext cx="2051483" cy="180870"/>
          </a:xfrm>
          <a:prstGeom prst="rect">
            <a:avLst/>
          </a:prstGeom>
        </p:spPr>
        <p:txBody>
          <a:bodyPr wrap="square" lIns="36000" tIns="0" rIns="36000" bIns="0" anchor="ctr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© </a:t>
            </a:r>
            <a:r>
              <a:rPr lang="en-US" sz="700" b="1" kern="120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Faktor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baseline="0" dirty="0" err="1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Zehn</a:t>
            </a:r>
            <a:r>
              <a:rPr lang="en-US" sz="700" b="1" kern="1200" baseline="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 </a:t>
            </a:r>
            <a:r>
              <a:rPr lang="en-US" sz="700" b="1" kern="1200" dirty="0" smtClean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G</a:t>
            </a:r>
            <a:endParaRPr lang="en-US" sz="700" b="1" kern="120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Titelplatzhalter 21"/>
          <p:cNvSpPr>
            <a:spLocks noGrp="1"/>
          </p:cNvSpPr>
          <p:nvPr userDrawn="1">
            <p:ph type="title"/>
          </p:nvPr>
        </p:nvSpPr>
        <p:spPr bwMode="gray">
          <a:xfrm>
            <a:off x="252000" y="180000"/>
            <a:ext cx="8639520" cy="900000"/>
          </a:xfrm>
          <a:prstGeom prst="rect">
            <a:avLst/>
          </a:prstGeom>
        </p:spPr>
        <p:txBody>
          <a:bodyPr vert="horz" lIns="0" tIns="0" rIns="36000" bIns="36000" rtlCol="0" anchor="ctr" anchorCtr="0">
            <a:noAutofit/>
          </a:bodyPr>
          <a:lstStyle/>
          <a:p>
            <a:pPr lvl="0"/>
            <a:r>
              <a:rPr lang="de-DE" noProof="0" dirty="0" smtClean="0"/>
              <a:t>Headline (Arial, 22 </a:t>
            </a:r>
            <a:r>
              <a:rPr lang="de-DE" noProof="0" dirty="0" err="1" smtClean="0"/>
              <a:t>pt</a:t>
            </a:r>
            <a:r>
              <a:rPr lang="de-DE" noProof="0" dirty="0" smtClean="0"/>
              <a:t>, </a:t>
            </a:r>
            <a:r>
              <a:rPr lang="de-DE" noProof="0" dirty="0" err="1" smtClean="0"/>
              <a:t>bold</a:t>
            </a:r>
            <a:r>
              <a:rPr lang="de-DE" noProof="0" dirty="0" smtClean="0"/>
              <a:t>)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51520" y="6678000"/>
            <a:ext cx="612000" cy="180000"/>
          </a:xfrm>
          <a:prstGeom prst="rect">
            <a:avLst/>
          </a:prstGeom>
        </p:spPr>
        <p:txBody>
          <a:bodyPr vert="horz" lIns="36000" tIns="36000" rIns="36000" bIns="36000" rtlCol="0" anchor="ctr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fld id="{1390B367-2C33-4535-9248-4484DA900BF4}" type="datetime1">
              <a:rPr lang="de-DE" smtClean="0"/>
              <a:t>17.05.2013</a:t>
            </a:fld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4372824" y="6678000"/>
            <a:ext cx="3960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1">
                <a:solidFill>
                  <a:schemeClr val="bg1"/>
                </a:solidFill>
              </a:defRPr>
            </a:lvl1pPr>
          </a:lstStyle>
          <a:p>
            <a:fld id="{21FBF85A-D7A6-488B-8C2B-F7E0D68439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8" name="Straight Connector 7"/>
          <p:cNvCxnSpPr/>
          <p:nvPr userDrawn="1"/>
        </p:nvCxnSpPr>
        <p:spPr>
          <a:xfrm>
            <a:off x="250824" y="1088740"/>
            <a:ext cx="8640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90" r:id="rId2"/>
    <p:sldLayoutId id="2147483697" r:id="rId3"/>
    <p:sldLayoutId id="2147483688" r:id="rId4"/>
    <p:sldLayoutId id="2147483691" r:id="rId5"/>
    <p:sldLayoutId id="2147483700" r:id="rId6"/>
    <p:sldLayoutId id="2147483674" r:id="rId7"/>
    <p:sldLayoutId id="2147483704" r:id="rId8"/>
    <p:sldLayoutId id="2147483675" r:id="rId9"/>
    <p:sldLayoutId id="2147483705" r:id="rId10"/>
    <p:sldLayoutId id="2147483702" r:id="rId11"/>
    <p:sldLayoutId id="2147483679" r:id="rId12"/>
    <p:sldLayoutId id="2147483692" r:id="rId13"/>
    <p:sldLayoutId id="2147483701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kumimoji="1" sz="22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800" b="1">
          <a:solidFill>
            <a:srgbClr val="004C88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kumimoji="1" sz="2400">
          <a:solidFill>
            <a:schemeClr val="tx1"/>
          </a:solidFill>
          <a:latin typeface="Arial" charset="0"/>
        </a:defRPr>
      </a:lvl9pPr>
    </p:titleStyle>
    <p:bodyStyle>
      <a:lvl1pPr marL="0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kumimoji="1" lang="de-DE" sz="1600" b="0">
          <a:solidFill>
            <a:schemeClr val="tx2"/>
          </a:solidFill>
          <a:latin typeface="+mn-lt"/>
          <a:ea typeface="+mn-ea"/>
          <a:cs typeface="+mn-cs"/>
        </a:defRPr>
      </a:lvl1pPr>
      <a:lvl2pPr marL="173038" indent="-173038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tabLst/>
        <a:defRPr sz="1600">
          <a:solidFill>
            <a:schemeClr val="tx2"/>
          </a:solidFill>
          <a:latin typeface="+mn-lt"/>
        </a:defRPr>
      </a:lvl2pPr>
      <a:lvl3pPr marL="173038" indent="0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3pPr>
      <a:lvl4pPr marL="361950" indent="-188913" algn="l" defTabSz="180000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4pPr>
      <a:lvl5pPr marL="361950" indent="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Tx/>
        <a:buNone/>
        <a:defRPr sz="1400" baseline="0">
          <a:solidFill>
            <a:schemeClr val="tx2"/>
          </a:solidFill>
          <a:latin typeface="+mn-lt"/>
        </a:defRPr>
      </a:lvl5pPr>
      <a:lvl6pPr marL="536575" indent="-174625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400" baseline="0">
          <a:solidFill>
            <a:schemeClr val="tx2"/>
          </a:solidFill>
          <a:latin typeface="+mn-lt"/>
        </a:defRPr>
      </a:lvl6pPr>
      <a:lvl7pPr marL="536575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200">
          <a:solidFill>
            <a:schemeClr val="tx2"/>
          </a:solidFill>
          <a:latin typeface="+mn-lt"/>
        </a:defRPr>
      </a:lvl7pPr>
      <a:lvl8pPr marL="725488" indent="-188913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tabLst>
          <a:tab pos="725488" algn="l"/>
        </a:tabLst>
        <a:defRPr sz="1200" baseline="0">
          <a:solidFill>
            <a:schemeClr val="tx2"/>
          </a:solidFill>
          <a:latin typeface="+mn-lt"/>
        </a:defRPr>
      </a:lvl8pPr>
      <a:lvl9pPr marL="725488" indent="0" algn="l" rtl="0" fontAlgn="base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Tx/>
        <a:buNone/>
        <a:defRPr sz="1000" baseline="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 - Modellierung </a:t>
            </a:r>
            <a:r>
              <a:rPr lang="de-DE" dirty="0"/>
              <a:t>&amp; Produktdefinition</a:t>
            </a:r>
            <a:endParaRPr lang="pt-B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D5D4BEAA-CD82-4C0B-99D2-8D8A776AA895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8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2775742"/>
              </p:ext>
            </p:extLst>
          </p:nvPr>
        </p:nvGraphicFramePr>
        <p:xfrm>
          <a:off x="267793" y="1232756"/>
          <a:ext cx="6068403" cy="5084209"/>
        </p:xfrm>
        <a:graphic>
          <a:graphicData uri="http://schemas.openxmlformats.org/drawingml/2006/table">
            <a:tbl>
              <a:tblPr/>
              <a:tblGrid>
                <a:gridCol w="6068403"/>
              </a:tblGrid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>
                          <a:tab pos="539750" algn="l"/>
                        </a:tabLst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907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r>
                        <a:rPr lang="de-DE" sz="2400" b="1" dirty="0" smtClean="0"/>
                        <a:t>III.F </a:t>
                      </a:r>
                      <a:r>
                        <a:rPr lang="de-DE" sz="2400" b="1" dirty="0" smtClean="0"/>
                        <a:t>Verwendung von </a:t>
                      </a:r>
                      <a:r>
                        <a:rPr lang="de-DE" sz="2400" b="1" dirty="0" smtClean="0"/>
                        <a:t>Formeln</a:t>
                      </a:r>
                      <a:endParaRPr lang="de-DE" sz="2400" b="1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4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47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e-DE" sz="1200" dirty="0" smtClean="0"/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63306">
                <a:tc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5400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>
                        <a:buFont typeface="StarSymbol"/>
                        <a:buNone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1025">
                <a:tc>
                  <a:txBody>
                    <a:bodyPr/>
                    <a:lstStyle/>
                    <a:p>
                      <a:pPr marL="4603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lang="en-US" sz="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1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tarSymbol"/>
                        <a:buNone/>
                        <a:tabLst/>
                        <a:defRPr/>
                      </a:pPr>
                      <a:endParaRPr lang="de-DE" sz="1200" b="0" dirty="0" smtClean="0"/>
                    </a:p>
                  </a:txBody>
                  <a:tcPr marL="89996" marR="89996" marT="53996" marB="539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3667818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0FB51AA-66D3-440C-9CDD-43C16808EFED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Beitragsberechnung für die Zusatzdeckungen</a:t>
            </a:r>
          </a:p>
        </p:txBody>
      </p:sp>
      <p:sp>
        <p:nvSpPr>
          <p:cNvPr id="11266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44053" y="1341438"/>
            <a:ext cx="7280275" cy="4244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36000" bIns="36000" numCol="1" anchor="t" anchorCtr="0" compatLnSpc="1">
            <a:prstTxWarp prst="textNoShape">
              <a:avLst/>
            </a:prstTxWarp>
          </a:bodyPr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Neues Attribute Jahresbasisbeitrag an der Zusatzdeckung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Formelsignatur an dem Zusatzdeckungstyp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smtClean="0"/>
              <a:t>Delegation von der Zusatzdeckung zum Zusatzdeckungstyp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endParaRPr lang="de-DE" dirty="0"/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 err="1" smtClean="0"/>
              <a:t>Berechnunsvorschriften</a:t>
            </a:r>
            <a:r>
              <a:rPr lang="de-DE" dirty="0" smtClean="0"/>
              <a:t> in den Zusatzdeckungen</a:t>
            </a:r>
            <a:endParaRPr lang="de-DE" dirty="0"/>
          </a:p>
          <a:p>
            <a:pPr marL="366798" lvl="2" indent="-285750">
              <a:spcAft>
                <a:spcPts val="1200"/>
              </a:spcAft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kumimoji="1" lang="de-DE" dirty="0" smtClean="0">
                <a:ea typeface="+mn-ea"/>
                <a:cs typeface="+mn-cs"/>
              </a:rPr>
              <a:t>			Fahrraddiebstahl </a:t>
            </a:r>
            <a:r>
              <a:rPr kumimoji="1" lang="de-DE" dirty="0">
                <a:ea typeface="+mn-ea"/>
                <a:cs typeface="+mn-cs"/>
              </a:rPr>
              <a:t>10% der Versicherungssumme</a:t>
            </a:r>
          </a:p>
          <a:p>
            <a:pPr marL="366798" lvl="2" indent="-285750">
              <a:spcAft>
                <a:spcPts val="1200"/>
              </a:spcAft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kumimoji="1" lang="de-DE" dirty="0" smtClean="0">
                <a:ea typeface="+mn-ea"/>
                <a:cs typeface="+mn-cs"/>
              </a:rPr>
              <a:t>			Überspannung </a:t>
            </a:r>
            <a:r>
              <a:rPr kumimoji="1" lang="de-DE" dirty="0">
                <a:ea typeface="+mn-ea"/>
                <a:cs typeface="+mn-cs"/>
              </a:rPr>
              <a:t>10EUR + 3% der Versicherungssumm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979536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12F66E6-43EE-4EFF-A55A-46191D639311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3 und 4 zu Kapitel III.F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69879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1726255-449E-46E3-8058-CF8221BEED19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12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Fachliche Anforderungen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body" idx="4294967295"/>
          </p:nvPr>
        </p:nvSpPr>
        <p:spPr>
          <a:xfrm>
            <a:off x="388069" y="1304925"/>
            <a:ext cx="7280275" cy="1893888"/>
          </a:xfrm>
          <a:ln/>
        </p:spPr>
        <p:txBody>
          <a:bodyPr/>
          <a:lstStyle/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rweiterung des Modells, so dass Zusatzdeckungen durch die Fachabteilung hinzugefügt werden können, ohne dass das Modell geändert werden muss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Jede Zusatzdeckung verfügt über eine eigene Versicherungssumme und einen eigenen Jahresbasisbeitrag. Die Versicherungssumme ergibt sich aus der im Vertrag vereinbarten Summe.</a:t>
            </a:r>
          </a:p>
          <a:p>
            <a:pPr marL="366798" indent="-285750"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Beispiele: </a:t>
            </a:r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934384" y="1670576"/>
            <a:ext cx="7281713" cy="845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9677" tIns="34839" rIns="69677" bIns="34839" anchor="ctr"/>
          <a:lstStyle/>
          <a:p>
            <a:endParaRPr lang="de-DE">
              <a:solidFill>
                <a:srgbClr val="005596"/>
              </a:solidFill>
            </a:endParaRP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563184"/>
              </p:ext>
            </p:extLst>
          </p:nvPr>
        </p:nvGraphicFramePr>
        <p:xfrm>
          <a:off x="377037" y="3536672"/>
          <a:ext cx="8425111" cy="151216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62715"/>
                <a:gridCol w="3024336"/>
                <a:gridCol w="3438060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Fahrraddiebstahl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Überspannung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Versicherungssumme</a:t>
                      </a:r>
                      <a:r>
                        <a:rPr lang="de-DE" sz="1400" baseline="0" dirty="0" smtClean="0"/>
                        <a:t> der Zusatzdeckun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% der im Vertrag vereinbarten Summe,</a:t>
                      </a:r>
                      <a:r>
                        <a:rPr lang="de-DE" sz="1400" baseline="0" dirty="0" smtClean="0"/>
                        <a:t> maximal 5000 Euro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% der im Vertrag vereinbarten</a:t>
                      </a:r>
                      <a:r>
                        <a:rPr lang="de-DE" sz="1400" baseline="0" dirty="0" smtClean="0"/>
                        <a:t> Summe. Keine Deckung</a:t>
                      </a:r>
                      <a:endParaRPr lang="de-DE" sz="1400" dirty="0"/>
                    </a:p>
                  </a:txBody>
                  <a:tcPr/>
                </a:tc>
              </a:tr>
              <a:tr h="623168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Jahresbasisbeitra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0% der Versicherungssumme der Fahrraddiebstahldeckung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0 Euro + 3% der Versicherungssumme der Überspannungsdeckung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18725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857EDB-517F-454C-956F-6E622B8610B8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 der Zusatzdeckungen</a:t>
            </a:r>
            <a:endParaRPr lang="de-DE" dirty="0"/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260545" y="3520167"/>
            <a:ext cx="2027237" cy="881582"/>
            <a:chOff x="254719" y="1019700"/>
            <a:chExt cx="3600000" cy="3947717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376218"/>
              <a:ext cx="3600000" cy="25911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rgbClr val="005596"/>
                  </a:solidFill>
                </a:rPr>
                <a:t>/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2703706" y="3520167"/>
            <a:ext cx="2242121" cy="881582"/>
            <a:chOff x="254719" y="1410245"/>
            <a:chExt cx="3600000" cy="3364705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smtClean="0">
                  <a:solidFill>
                    <a:srgbClr val="FFFFFF"/>
                  </a:solidFill>
                </a:rPr>
                <a:t> </a:t>
              </a:r>
              <a:r>
                <a:rPr lang="en-US" sz="1200" dirty="0" err="1" smtClean="0">
                  <a:solidFill>
                    <a:srgbClr val="FFFFFF"/>
                  </a:solidFill>
                </a:rPr>
                <a:t>HausratZusatzdeckungstyp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557657" y="3956729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298895" y="3951967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287782" y="4112423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16" name="Gruppieren 17"/>
          <p:cNvGrpSpPr>
            <a:grpSpLocks/>
          </p:cNvGrpSpPr>
          <p:nvPr/>
        </p:nvGrpSpPr>
        <p:grpSpPr bwMode="auto">
          <a:xfrm>
            <a:off x="262132" y="2133497"/>
            <a:ext cx="2027237" cy="590550"/>
            <a:chOff x="254719" y="1019700"/>
            <a:chExt cx="3600000" cy="2644478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21"/>
          <p:cNvGrpSpPr>
            <a:grpSpLocks/>
          </p:cNvGrpSpPr>
          <p:nvPr/>
        </p:nvGrpSpPr>
        <p:grpSpPr bwMode="auto">
          <a:xfrm>
            <a:off x="2705293" y="2133497"/>
            <a:ext cx="2240533" cy="590550"/>
            <a:chOff x="254719" y="1410245"/>
            <a:chExt cx="3600000" cy="225393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>
                  <a:solidFill>
                    <a:srgbClr val="005596"/>
                  </a:solidFill>
                </a:rPr>
                <a:t>p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roduktname</a:t>
              </a:r>
              <a:r>
                <a:rPr lang="en-US" sz="1000" dirty="0" smtClean="0">
                  <a:solidFill>
                    <a:srgbClr val="005596"/>
                  </a:solidFill>
                </a:rPr>
                <a:t>: String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Produkt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3" name="Textfeld 29"/>
          <p:cNvSpPr txBox="1">
            <a:spLocks noChangeArrowheads="1"/>
          </p:cNvSpPr>
          <p:nvPr/>
        </p:nvSpPr>
        <p:spPr bwMode="auto">
          <a:xfrm>
            <a:off x="2559244" y="2570059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5" name="Textfeld 52"/>
          <p:cNvSpPr txBox="1">
            <a:spLocks noChangeArrowheads="1"/>
          </p:cNvSpPr>
          <p:nvPr/>
        </p:nvSpPr>
        <p:spPr bwMode="auto">
          <a:xfrm>
            <a:off x="2300482" y="2565297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27" name="Gerade Verbindung 57"/>
          <p:cNvCxnSpPr>
            <a:cxnSpLocks noChangeShapeType="1"/>
            <a:stCxn id="17" idx="3"/>
            <a:endCxn id="20" idx="1"/>
          </p:cNvCxnSpPr>
          <p:nvPr/>
        </p:nvCxnSpPr>
        <p:spPr bwMode="auto">
          <a:xfrm>
            <a:off x="2289369" y="2580237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9" name="Gerade Verbindung mit Pfeil 28"/>
          <p:cNvCxnSpPr>
            <a:stCxn id="6" idx="0"/>
            <a:endCxn id="49" idx="2"/>
          </p:cNvCxnSpPr>
          <p:nvPr/>
        </p:nvCxnSpPr>
        <p:spPr bwMode="auto">
          <a:xfrm flipH="1" flipV="1">
            <a:off x="1261393" y="3071782"/>
            <a:ext cx="12771" cy="448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33" name="Gerade Verbindung mit Pfeil 32"/>
          <p:cNvCxnSpPr/>
          <p:nvPr/>
        </p:nvCxnSpPr>
        <p:spPr bwMode="auto">
          <a:xfrm flipH="1" flipV="1">
            <a:off x="3851919" y="3071782"/>
            <a:ext cx="1" cy="448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34" name="Textfeld 52"/>
          <p:cNvSpPr txBox="1">
            <a:spLocks noChangeArrowheads="1"/>
          </p:cNvSpPr>
          <p:nvPr/>
        </p:nvSpPr>
        <p:spPr bwMode="auto">
          <a:xfrm>
            <a:off x="1275820" y="334823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35" name="Textfeld 52"/>
          <p:cNvSpPr txBox="1">
            <a:spLocks noChangeArrowheads="1"/>
          </p:cNvSpPr>
          <p:nvPr/>
        </p:nvSpPr>
        <p:spPr bwMode="auto">
          <a:xfrm>
            <a:off x="3718913" y="334823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8" name="Ellipse 27"/>
          <p:cNvSpPr>
            <a:spLocks noChangeAspect="1"/>
          </p:cNvSpPr>
          <p:nvPr/>
        </p:nvSpPr>
        <p:spPr bwMode="auto">
          <a:xfrm>
            <a:off x="275573" y="217696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1" name="Ellipse 30"/>
          <p:cNvSpPr>
            <a:spLocks noChangeAspect="1"/>
          </p:cNvSpPr>
          <p:nvPr/>
        </p:nvSpPr>
        <p:spPr bwMode="auto">
          <a:xfrm>
            <a:off x="280286" y="356517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2766412" y="217621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2705294" y="356363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9" name="Raute 48"/>
          <p:cNvSpPr/>
          <p:nvPr>
            <p:custDataLst>
              <p:tags r:id="rId1"/>
            </p:custDataLst>
          </p:nvPr>
        </p:nvSpPr>
        <p:spPr bwMode="gray">
          <a:xfrm>
            <a:off x="1131677" y="2724047"/>
            <a:ext cx="259431" cy="347735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50" name="Raute 49"/>
          <p:cNvSpPr/>
          <p:nvPr>
            <p:custDataLst>
              <p:tags r:id="rId2"/>
            </p:custDataLst>
          </p:nvPr>
        </p:nvSpPr>
        <p:spPr bwMode="gray">
          <a:xfrm>
            <a:off x="3718913" y="2731703"/>
            <a:ext cx="259431" cy="347735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47071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D2479C8-CD54-44EA-9D6D-4A6A79B39777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dell der Zusatzdeckungen mit Produktbausteinen</a:t>
            </a:r>
            <a:endParaRPr lang="de-DE" dirty="0"/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260545" y="3520167"/>
            <a:ext cx="2027237" cy="881582"/>
            <a:chOff x="254719" y="1019700"/>
            <a:chExt cx="3600000" cy="3947717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54719" y="2376218"/>
              <a:ext cx="3600000" cy="25911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rgbClr val="005596"/>
                  </a:solidFill>
                </a:rPr>
                <a:t>/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2703706" y="3520167"/>
            <a:ext cx="2242121" cy="881582"/>
            <a:chOff x="254719" y="1410245"/>
            <a:chExt cx="3600000" cy="3364705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smtClean="0">
                  <a:solidFill>
                    <a:srgbClr val="FFFFFF"/>
                  </a:solidFill>
                </a:rPr>
                <a:t> </a:t>
              </a:r>
              <a:r>
                <a:rPr lang="en-US" sz="1200" dirty="0" err="1" smtClean="0">
                  <a:solidFill>
                    <a:srgbClr val="FFFFFF"/>
                  </a:solidFill>
                </a:rPr>
                <a:t>HausratZusatzdeckungstyp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557657" y="3956729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298895" y="3951967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287782" y="4112423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grpSp>
        <p:nvGrpSpPr>
          <p:cNvPr id="16" name="Gruppieren 17"/>
          <p:cNvGrpSpPr>
            <a:grpSpLocks/>
          </p:cNvGrpSpPr>
          <p:nvPr/>
        </p:nvGrpSpPr>
        <p:grpSpPr bwMode="auto">
          <a:xfrm>
            <a:off x="262132" y="2133497"/>
            <a:ext cx="2027237" cy="590550"/>
            <a:chOff x="254719" y="1019700"/>
            <a:chExt cx="3600000" cy="2644478"/>
          </a:xfrm>
        </p:grpSpPr>
        <p:sp>
          <p:nvSpPr>
            <p:cNvPr id="17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4719" y="2376218"/>
              <a:ext cx="3600000" cy="12879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>
                <a:solidFill>
                  <a:srgbClr val="005596"/>
                </a:solidFill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Vertra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uppieren 21"/>
          <p:cNvGrpSpPr>
            <a:grpSpLocks/>
          </p:cNvGrpSpPr>
          <p:nvPr/>
        </p:nvGrpSpPr>
        <p:grpSpPr bwMode="auto">
          <a:xfrm>
            <a:off x="2705293" y="2133497"/>
            <a:ext cx="2240533" cy="590550"/>
            <a:chOff x="254719" y="1410245"/>
            <a:chExt cx="3600000" cy="2253933"/>
          </a:xfrm>
        </p:grpSpPr>
        <p:sp>
          <p:nvSpPr>
            <p:cNvPr id="20" name="Rectangl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719" y="2566432"/>
              <a:ext cx="3600000" cy="1097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>
                  <a:solidFill>
                    <a:srgbClr val="005596"/>
                  </a:solidFill>
                </a:rPr>
                <a:t>p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roduktname</a:t>
              </a:r>
              <a:r>
                <a:rPr lang="en-US" sz="1000" dirty="0" smtClean="0">
                  <a:solidFill>
                    <a:srgbClr val="005596"/>
                  </a:solidFill>
                </a:rPr>
                <a:t>: String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Produkt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3" name="Textfeld 29"/>
          <p:cNvSpPr txBox="1">
            <a:spLocks noChangeArrowheads="1"/>
          </p:cNvSpPr>
          <p:nvPr/>
        </p:nvSpPr>
        <p:spPr bwMode="auto">
          <a:xfrm>
            <a:off x="2559244" y="2570059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25" name="Textfeld 52"/>
          <p:cNvSpPr txBox="1">
            <a:spLocks noChangeArrowheads="1"/>
          </p:cNvSpPr>
          <p:nvPr/>
        </p:nvSpPr>
        <p:spPr bwMode="auto">
          <a:xfrm>
            <a:off x="2300482" y="2565297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27" name="Gerade Verbindung 57"/>
          <p:cNvCxnSpPr>
            <a:cxnSpLocks noChangeShapeType="1"/>
            <a:stCxn id="17" idx="3"/>
            <a:endCxn id="20" idx="1"/>
          </p:cNvCxnSpPr>
          <p:nvPr/>
        </p:nvCxnSpPr>
        <p:spPr bwMode="auto">
          <a:xfrm>
            <a:off x="2289369" y="2580237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9" name="Gerade Verbindung mit Pfeil 28"/>
          <p:cNvCxnSpPr>
            <a:stCxn id="6" idx="0"/>
            <a:endCxn id="49" idx="2"/>
          </p:cNvCxnSpPr>
          <p:nvPr/>
        </p:nvCxnSpPr>
        <p:spPr bwMode="auto">
          <a:xfrm flipH="1" flipV="1">
            <a:off x="1261393" y="3071782"/>
            <a:ext cx="12771" cy="448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33" name="Gerade Verbindung mit Pfeil 32"/>
          <p:cNvCxnSpPr/>
          <p:nvPr/>
        </p:nvCxnSpPr>
        <p:spPr bwMode="auto">
          <a:xfrm flipH="1" flipV="1">
            <a:off x="3851919" y="3071782"/>
            <a:ext cx="1" cy="4483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34" name="Textfeld 52"/>
          <p:cNvSpPr txBox="1">
            <a:spLocks noChangeArrowheads="1"/>
          </p:cNvSpPr>
          <p:nvPr/>
        </p:nvSpPr>
        <p:spPr bwMode="auto">
          <a:xfrm>
            <a:off x="1275820" y="334823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 dirty="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35" name="Textfeld 52"/>
          <p:cNvSpPr txBox="1">
            <a:spLocks noChangeArrowheads="1"/>
          </p:cNvSpPr>
          <p:nvPr/>
        </p:nvSpPr>
        <p:spPr bwMode="auto">
          <a:xfrm>
            <a:off x="3718913" y="3348232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sp>
        <p:nvSpPr>
          <p:cNvPr id="28" name="Ellipse 27"/>
          <p:cNvSpPr>
            <a:spLocks noChangeAspect="1"/>
          </p:cNvSpPr>
          <p:nvPr/>
        </p:nvSpPr>
        <p:spPr bwMode="auto">
          <a:xfrm>
            <a:off x="275573" y="217696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1" name="Ellipse 30"/>
          <p:cNvSpPr>
            <a:spLocks noChangeAspect="1"/>
          </p:cNvSpPr>
          <p:nvPr/>
        </p:nvSpPr>
        <p:spPr bwMode="auto">
          <a:xfrm>
            <a:off x="280286" y="3565173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2" name="Ellipse 31"/>
          <p:cNvSpPr>
            <a:spLocks noChangeAspect="1"/>
          </p:cNvSpPr>
          <p:nvPr/>
        </p:nvSpPr>
        <p:spPr bwMode="auto">
          <a:xfrm>
            <a:off x="2766412" y="2176218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2705294" y="3563632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grpSp>
        <p:nvGrpSpPr>
          <p:cNvPr id="37" name="Gruppieren 21"/>
          <p:cNvGrpSpPr>
            <a:grpSpLocks/>
          </p:cNvGrpSpPr>
          <p:nvPr/>
        </p:nvGrpSpPr>
        <p:grpSpPr bwMode="auto">
          <a:xfrm>
            <a:off x="6408204" y="3511176"/>
            <a:ext cx="2027238" cy="881582"/>
            <a:chOff x="254719" y="1410245"/>
            <a:chExt cx="3600000" cy="3364705"/>
          </a:xfrm>
        </p:grpSpPr>
        <p:sp>
          <p:nvSpPr>
            <p:cNvPr id="38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1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5000EUR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39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Fahrraddiebstahl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0" name="Gruppieren 21"/>
          <p:cNvGrpSpPr>
            <a:grpSpLocks/>
          </p:cNvGrpSpPr>
          <p:nvPr/>
        </p:nvGrpSpPr>
        <p:grpSpPr bwMode="auto">
          <a:xfrm>
            <a:off x="6408204" y="4827082"/>
            <a:ext cx="2027238" cy="881582"/>
            <a:chOff x="254719" y="1410245"/>
            <a:chExt cx="3600000" cy="3364705"/>
          </a:xfrm>
        </p:grpSpPr>
        <p:sp>
          <p:nvSpPr>
            <p:cNvPr id="41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5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null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42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Überspann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6444208" y="3554641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4" name="Ellipse 43"/>
          <p:cNvSpPr>
            <a:spLocks noChangeAspect="1"/>
          </p:cNvSpPr>
          <p:nvPr/>
        </p:nvSpPr>
        <p:spPr bwMode="auto">
          <a:xfrm>
            <a:off x="6444208" y="4860169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grpSp>
        <p:nvGrpSpPr>
          <p:cNvPr id="45" name="Gruppieren 21"/>
          <p:cNvGrpSpPr>
            <a:grpSpLocks/>
          </p:cNvGrpSpPr>
          <p:nvPr/>
        </p:nvGrpSpPr>
        <p:grpSpPr bwMode="auto">
          <a:xfrm>
            <a:off x="6408204" y="2130456"/>
            <a:ext cx="2027238" cy="881582"/>
            <a:chOff x="254719" y="1410245"/>
            <a:chExt cx="3600000" cy="3364705"/>
          </a:xfrm>
        </p:grpSpPr>
        <p:sp>
          <p:nvSpPr>
            <p:cNvPr id="46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22085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Produktname</a:t>
              </a:r>
              <a:r>
                <a:rPr lang="en-US" sz="1000" dirty="0" smtClean="0">
                  <a:solidFill>
                    <a:srgbClr val="005596"/>
                  </a:solidFill>
                </a:rPr>
                <a:t> = “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Kompakt</a:t>
              </a:r>
              <a:r>
                <a:rPr lang="en-US" sz="1000" dirty="0" smtClean="0">
                  <a:solidFill>
                    <a:srgbClr val="005596"/>
                  </a:solidFill>
                </a:rPr>
                <a:t>”</a:t>
              </a: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47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smtClean="0">
                  <a:solidFill>
                    <a:srgbClr val="FFFFFF"/>
                  </a:solidFill>
                </a:rPr>
                <a:t>HR-</a:t>
              </a:r>
              <a:r>
                <a:rPr lang="en-US" sz="1200" dirty="0" err="1" smtClean="0">
                  <a:solidFill>
                    <a:srgbClr val="FFFFFF"/>
                  </a:solidFill>
                </a:rPr>
                <a:t>Kompakt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48" name="Ellipse 47"/>
          <p:cNvSpPr>
            <a:spLocks noChangeAspect="1"/>
          </p:cNvSpPr>
          <p:nvPr/>
        </p:nvSpPr>
        <p:spPr bwMode="auto">
          <a:xfrm>
            <a:off x="6444208" y="2173921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9" name="Raute 48"/>
          <p:cNvSpPr/>
          <p:nvPr>
            <p:custDataLst>
              <p:tags r:id="rId1"/>
            </p:custDataLst>
          </p:nvPr>
        </p:nvSpPr>
        <p:spPr bwMode="gray">
          <a:xfrm>
            <a:off x="1131677" y="2724047"/>
            <a:ext cx="259431" cy="347735"/>
          </a:xfrm>
          <a:prstGeom prst="diamond">
            <a:avLst/>
          </a:prstGeom>
          <a:solidFill>
            <a:srgbClr val="7A51C5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sp>
        <p:nvSpPr>
          <p:cNvPr id="50" name="Raute 49"/>
          <p:cNvSpPr/>
          <p:nvPr>
            <p:custDataLst>
              <p:tags r:id="rId2"/>
            </p:custDataLst>
          </p:nvPr>
        </p:nvSpPr>
        <p:spPr bwMode="gray">
          <a:xfrm>
            <a:off x="3718913" y="2731703"/>
            <a:ext cx="259431" cy="347735"/>
          </a:xfrm>
          <a:prstGeom prst="diamond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39A9DC"/>
              </a:buClr>
              <a:buSzPct val="80000"/>
              <a:buFont typeface="Wingdings" pitchFamily="2" charset="2"/>
              <a:buNone/>
            </a:pPr>
            <a:endParaRPr lang="en-US" sz="1800" smtClean="0">
              <a:solidFill>
                <a:srgbClr val="005596"/>
              </a:solidFill>
            </a:endParaRPr>
          </a:p>
        </p:txBody>
      </p:sp>
      <p:cxnSp>
        <p:nvCxnSpPr>
          <p:cNvPr id="51" name="Gerade Verbindung mit Pfeil 58"/>
          <p:cNvCxnSpPr>
            <a:cxnSpLocks noChangeShapeType="1"/>
          </p:cNvCxnSpPr>
          <p:nvPr/>
        </p:nvCxnSpPr>
        <p:spPr bwMode="auto">
          <a:xfrm flipH="1">
            <a:off x="4948399" y="2542326"/>
            <a:ext cx="145980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53" name="Gerade Verbindung mit Pfeil 58"/>
          <p:cNvCxnSpPr>
            <a:cxnSpLocks noChangeShapeType="1"/>
          </p:cNvCxnSpPr>
          <p:nvPr/>
        </p:nvCxnSpPr>
        <p:spPr bwMode="auto">
          <a:xfrm flipH="1">
            <a:off x="4948399" y="3965405"/>
            <a:ext cx="145980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54" name="Gerade Verbindung mit Pfeil 58"/>
          <p:cNvCxnSpPr>
            <a:cxnSpLocks noChangeShapeType="1"/>
            <a:stCxn id="41" idx="1"/>
          </p:cNvCxnSpPr>
          <p:nvPr/>
        </p:nvCxnSpPr>
        <p:spPr bwMode="auto">
          <a:xfrm flipH="1" flipV="1">
            <a:off x="4949801" y="4372325"/>
            <a:ext cx="1458403" cy="1047014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sp>
        <p:nvSpPr>
          <p:cNvPr id="55" name="Textfeld 61"/>
          <p:cNvSpPr txBox="1">
            <a:spLocks noChangeArrowheads="1"/>
          </p:cNvSpPr>
          <p:nvPr/>
        </p:nvSpPr>
        <p:spPr bwMode="auto">
          <a:xfrm>
            <a:off x="5263580" y="2243702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56" name="Textfeld 61"/>
          <p:cNvSpPr txBox="1">
            <a:spLocks noChangeArrowheads="1"/>
          </p:cNvSpPr>
          <p:nvPr/>
        </p:nvSpPr>
        <p:spPr bwMode="auto">
          <a:xfrm>
            <a:off x="5238424" y="3682001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57" name="Textfeld 61"/>
          <p:cNvSpPr txBox="1">
            <a:spLocks noChangeArrowheads="1"/>
          </p:cNvSpPr>
          <p:nvPr/>
        </p:nvSpPr>
        <p:spPr bwMode="auto">
          <a:xfrm>
            <a:off x="4963488" y="4934751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cxnSp>
        <p:nvCxnSpPr>
          <p:cNvPr id="58" name="Gerade Verbindung 57"/>
          <p:cNvCxnSpPr/>
          <p:nvPr/>
        </p:nvCxnSpPr>
        <p:spPr bwMode="auto">
          <a:xfrm>
            <a:off x="5799535" y="1304379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extfeld 58"/>
          <p:cNvSpPr txBox="1"/>
          <p:nvPr/>
        </p:nvSpPr>
        <p:spPr>
          <a:xfrm>
            <a:off x="6312070" y="1333093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nkrete Produkte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1619672" y="1345880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cxnSp>
        <p:nvCxnSpPr>
          <p:cNvPr id="61" name="Gerade Verbindung 60"/>
          <p:cNvCxnSpPr>
            <a:stCxn id="46" idx="2"/>
            <a:endCxn id="39" idx="0"/>
          </p:cNvCxnSpPr>
          <p:nvPr/>
        </p:nvCxnSpPr>
        <p:spPr bwMode="auto">
          <a:xfrm>
            <a:off x="7421823" y="3012038"/>
            <a:ext cx="0" cy="4991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Gewinkelte Verbindung 62"/>
          <p:cNvCxnSpPr>
            <a:stCxn id="46" idx="3"/>
            <a:endCxn id="41" idx="3"/>
          </p:cNvCxnSpPr>
          <p:nvPr/>
        </p:nvCxnSpPr>
        <p:spPr bwMode="auto">
          <a:xfrm>
            <a:off x="8435442" y="2722713"/>
            <a:ext cx="12700" cy="2696626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55129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5AC9B28-A57E-438D-ACB9-F838EE3AE256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21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Demo: Anlegen der Zusatzdeckungen</a:t>
            </a: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5951268"/>
              </p:ext>
            </p:extLst>
          </p:nvPr>
        </p:nvGraphicFramePr>
        <p:xfrm>
          <a:off x="431541" y="1916832"/>
          <a:ext cx="7812866" cy="14833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284683"/>
                <a:gridCol w="2775463"/>
                <a:gridCol w="2752720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HRD-Fahrraddiebstahl 2008-04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HDR-Überspannung</a:t>
                      </a:r>
                      <a:r>
                        <a:rPr lang="de-DE" sz="1400" baseline="0" dirty="0" smtClean="0"/>
                        <a:t> 2008-04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Bezeichn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Fahrraddiebstahl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Überspannungsschutz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 smtClean="0"/>
                        <a:t>VersSummenFaktor</a:t>
                      </a:r>
                      <a:endParaRPr lang="de-DE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,01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,05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Maximale</a:t>
                      </a:r>
                      <a:r>
                        <a:rPr lang="de-DE" sz="1400" baseline="0" dirty="0" smtClean="0"/>
                        <a:t> </a:t>
                      </a:r>
                      <a:r>
                        <a:rPr lang="de-DE" sz="1400" baseline="0" dirty="0" err="1" smtClean="0"/>
                        <a:t>VersSumme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3000 EUR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&lt;null&gt;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086744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5557B4-803C-4876-A7CF-D872D6D4DAED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ungen 1 und 2 zu Kapitel III.F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518716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3DFC734-5D60-41D8-87FA-471F42A2B25D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 tIns="18818"/>
          <a:lstStyle/>
          <a:p>
            <a:pPr>
              <a:tabLst>
                <a:tab pos="0" algn="l"/>
                <a:tab pos="341128" algn="l"/>
                <a:tab pos="683467" algn="l"/>
                <a:tab pos="1025804" algn="l"/>
                <a:tab pos="1368143" algn="l"/>
                <a:tab pos="1710480" algn="l"/>
                <a:tab pos="2052819" algn="l"/>
                <a:tab pos="2395157" algn="l"/>
                <a:tab pos="2737495" algn="l"/>
                <a:tab pos="3079833" algn="l"/>
                <a:tab pos="3422171" algn="l"/>
                <a:tab pos="3764509" algn="l"/>
                <a:tab pos="4106847" algn="l"/>
                <a:tab pos="4449185" algn="l"/>
                <a:tab pos="4791523" algn="l"/>
                <a:tab pos="5133861" algn="l"/>
                <a:tab pos="5476199" algn="l"/>
                <a:tab pos="5818537" algn="l"/>
                <a:tab pos="6160875" algn="l"/>
                <a:tab pos="6503213" algn="l"/>
                <a:tab pos="6845551" algn="l"/>
                <a:tab pos="7170953" algn="l"/>
                <a:tab pos="7722565" algn="l"/>
              </a:tabLst>
            </a:pPr>
            <a:r>
              <a:rPr lang="de-DE"/>
              <a:t>Berechnungen mit der Faktor-IPS Formelsprache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280057" y="1304925"/>
            <a:ext cx="7280275" cy="4246563"/>
          </a:xfrm>
          <a:ln/>
        </p:spPr>
        <p:txBody>
          <a:bodyPr/>
          <a:lstStyle/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Einfache Berechnungsvorschriften, die ein Fachbereich unabhängig von einer Anwendungsentwicklung implementieren möchte, können in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Faktor-IPS </a:t>
            </a:r>
            <a:r>
              <a:rPr lang="de-DE" dirty="0"/>
              <a:t>mit Formelausdrücken angegeben werden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Die Formelsprache ist an die Formelsprache von Excel angelehnt.</a:t>
            </a:r>
          </a:p>
          <a:p>
            <a:pPr marL="366798" indent="-285750">
              <a:spcAft>
                <a:spcPts val="1200"/>
              </a:spcAft>
              <a:buFont typeface="Wingdings" pitchFamily="2" charset="2"/>
              <a:buChar char="§"/>
              <a:tabLst>
                <a:tab pos="339919" algn="l"/>
                <a:tab pos="682257" algn="l"/>
                <a:tab pos="1024595" algn="l"/>
                <a:tab pos="1366933" algn="l"/>
                <a:tab pos="1709271" algn="l"/>
                <a:tab pos="2051609" algn="l"/>
                <a:tab pos="2393947" algn="l"/>
                <a:tab pos="2736285" algn="l"/>
                <a:tab pos="3078623" algn="l"/>
                <a:tab pos="3420961" algn="l"/>
                <a:tab pos="3763299" algn="l"/>
                <a:tab pos="4105637" algn="l"/>
                <a:tab pos="4447975" algn="l"/>
                <a:tab pos="4790313" algn="l"/>
                <a:tab pos="5132651" algn="l"/>
                <a:tab pos="5474989" algn="l"/>
                <a:tab pos="5817327" algn="l"/>
                <a:tab pos="6159665" algn="l"/>
                <a:tab pos="6502004" algn="l"/>
                <a:tab pos="6844341" algn="l"/>
                <a:tab pos="7170953" algn="l"/>
                <a:tab pos="7722565" algn="l"/>
              </a:tabLst>
            </a:pPr>
            <a:r>
              <a:rPr lang="de-DE" dirty="0"/>
              <a:t>Um Formeln in einem Produktbaustein angeben zu können, muss in der Produktklasse des Bausteines eine Formelsignatur angegeben werden</a:t>
            </a:r>
            <a:r>
              <a:rPr lang="de-DE" dirty="0" smtClean="0"/>
              <a:t>.</a:t>
            </a:r>
            <a:endParaRPr lang="de-DE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123842"/>
              </p:ext>
            </p:extLst>
          </p:nvPr>
        </p:nvGraphicFramePr>
        <p:xfrm>
          <a:off x="746398" y="3932479"/>
          <a:ext cx="7488831" cy="741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189927"/>
                <a:gridCol w="2660352"/>
                <a:gridCol w="2638552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Fahrraddiebstahl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Überspannung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Jahresbasisbeitr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err="1" smtClean="0"/>
                        <a:t>versSumme</a:t>
                      </a:r>
                      <a:r>
                        <a:rPr lang="de-DE" sz="1400" dirty="0" smtClean="0"/>
                        <a:t> * 0,01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30 EUR</a:t>
                      </a:r>
                      <a:r>
                        <a:rPr lang="de-DE" sz="1400" baseline="0" dirty="0" smtClean="0"/>
                        <a:t> + </a:t>
                      </a:r>
                      <a:r>
                        <a:rPr lang="de-DE" sz="1400" baseline="0" dirty="0" err="1" smtClean="0"/>
                        <a:t>versSumme</a:t>
                      </a:r>
                      <a:r>
                        <a:rPr lang="de-DE" sz="1400" baseline="0" dirty="0" smtClean="0"/>
                        <a:t> * 0,03</a:t>
                      </a:r>
                      <a:endParaRPr lang="de-DE" sz="14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028460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7E8DA7E-0621-45A6-AB1D-80B7207B85F5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ücksichtigung der Beitragsberechnung im Modell</a:t>
            </a:r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280286" y="2384884"/>
            <a:ext cx="2027237" cy="1152128"/>
            <a:chOff x="254719" y="1019700"/>
            <a:chExt cx="3600000" cy="5159220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376218"/>
              <a:ext cx="3600000" cy="380270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7200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rgbClr val="005596"/>
                  </a:solidFill>
                </a:rPr>
                <a:t>/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b="1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 smtClean="0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2723447" y="2384884"/>
            <a:ext cx="2242121" cy="1152128"/>
            <a:chOff x="254719" y="1410245"/>
            <a:chExt cx="3600000" cy="4397289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324110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 smtClean="0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 smtClean="0">
                  <a:solidFill>
                    <a:srgbClr val="005596"/>
                  </a:solidFill>
                </a:rPr>
                <a:t>(…)</a:t>
              </a:r>
              <a:endParaRPr lang="en-US" sz="1000" b="1" dirty="0">
                <a:solidFill>
                  <a:srgbClr val="005596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smtClean="0">
                  <a:solidFill>
                    <a:srgbClr val="FFFFFF"/>
                  </a:solidFill>
                </a:rPr>
                <a:t> </a:t>
              </a:r>
              <a:r>
                <a:rPr lang="en-US" sz="1200" dirty="0" err="1" smtClean="0">
                  <a:solidFill>
                    <a:srgbClr val="FFFFFF"/>
                  </a:solidFill>
                </a:rPr>
                <a:t>HausratZusatzdeckungstyp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577398" y="2821446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318636" y="2816684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307523" y="3112413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1" name="Ellipse 30"/>
          <p:cNvSpPr>
            <a:spLocks noChangeAspect="1"/>
          </p:cNvSpPr>
          <p:nvPr/>
        </p:nvSpPr>
        <p:spPr bwMode="auto">
          <a:xfrm>
            <a:off x="300027" y="242989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2725035" y="242834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grpSp>
        <p:nvGrpSpPr>
          <p:cNvPr id="37" name="Gruppieren 21"/>
          <p:cNvGrpSpPr>
            <a:grpSpLocks/>
          </p:cNvGrpSpPr>
          <p:nvPr/>
        </p:nvGrpSpPr>
        <p:grpSpPr bwMode="auto">
          <a:xfrm>
            <a:off x="6427945" y="2375893"/>
            <a:ext cx="2027238" cy="1423575"/>
            <a:chOff x="254719" y="1410245"/>
            <a:chExt cx="3600000" cy="5433312"/>
          </a:xfrm>
        </p:grpSpPr>
        <p:sp>
          <p:nvSpPr>
            <p:cNvPr id="38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42771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1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5000EU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: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versSumme</a:t>
              </a:r>
              <a:r>
                <a:rPr lang="en-US" sz="1000" b="1" dirty="0">
                  <a:solidFill>
                    <a:srgbClr val="005596"/>
                  </a:solidFill>
                </a:rPr>
                <a:t> * </a:t>
              </a:r>
              <a:r>
                <a:rPr lang="en-US" sz="1000" b="1" dirty="0" smtClean="0">
                  <a:solidFill>
                    <a:srgbClr val="005596"/>
                  </a:solidFill>
                </a:rPr>
                <a:t>0.1</a:t>
              </a:r>
              <a:endParaRPr lang="en-US" sz="1000" b="1" dirty="0">
                <a:solidFill>
                  <a:srgbClr val="005596"/>
                </a:solidFill>
              </a:endParaRPr>
            </a:p>
          </p:txBody>
        </p:sp>
        <p:sp>
          <p:nvSpPr>
            <p:cNvPr id="39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Fahrraddiebstahl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0" name="Gruppieren 21"/>
          <p:cNvGrpSpPr>
            <a:grpSpLocks/>
          </p:cNvGrpSpPr>
          <p:nvPr/>
        </p:nvGrpSpPr>
        <p:grpSpPr bwMode="auto">
          <a:xfrm>
            <a:off x="6427945" y="4333608"/>
            <a:ext cx="2027238" cy="1425261"/>
            <a:chOff x="254719" y="1410245"/>
            <a:chExt cx="3600000" cy="5439746"/>
          </a:xfrm>
        </p:grpSpPr>
        <p:sp>
          <p:nvSpPr>
            <p:cNvPr id="41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509567"/>
              <a:ext cx="3600000" cy="434042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5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nul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: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>
                  <a:solidFill>
                    <a:srgbClr val="005596"/>
                  </a:solidFill>
                </a:rPr>
                <a:t>30 EUR + </a:t>
              </a:r>
              <a:r>
                <a:rPr lang="en-US" sz="1000" b="1" dirty="0" err="1">
                  <a:solidFill>
                    <a:srgbClr val="005596"/>
                  </a:solidFill>
                </a:rPr>
                <a:t>versSumme</a:t>
              </a:r>
              <a:r>
                <a:rPr lang="en-US" sz="1000" b="1" dirty="0">
                  <a:solidFill>
                    <a:srgbClr val="005596"/>
                  </a:solidFill>
                </a:rPr>
                <a:t> * 0.03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42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Überspann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6463949" y="2419358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4" name="Ellipse 43"/>
          <p:cNvSpPr>
            <a:spLocks noChangeAspect="1"/>
          </p:cNvSpPr>
          <p:nvPr/>
        </p:nvSpPr>
        <p:spPr bwMode="auto">
          <a:xfrm>
            <a:off x="6463949" y="4366695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cxnSp>
        <p:nvCxnSpPr>
          <p:cNvPr id="53" name="Gerade Verbindung mit Pfeil 58"/>
          <p:cNvCxnSpPr>
            <a:cxnSpLocks noChangeShapeType="1"/>
          </p:cNvCxnSpPr>
          <p:nvPr/>
        </p:nvCxnSpPr>
        <p:spPr bwMode="auto">
          <a:xfrm flipH="1">
            <a:off x="4968140" y="2830122"/>
            <a:ext cx="145980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54" name="Gerade Verbindung mit Pfeil 58"/>
          <p:cNvCxnSpPr>
            <a:cxnSpLocks noChangeShapeType="1"/>
            <a:stCxn id="41" idx="1"/>
          </p:cNvCxnSpPr>
          <p:nvPr/>
        </p:nvCxnSpPr>
        <p:spPr bwMode="auto">
          <a:xfrm flipH="1" flipV="1">
            <a:off x="4968140" y="2830122"/>
            <a:ext cx="1459805" cy="236013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sp>
        <p:nvSpPr>
          <p:cNvPr id="56" name="Textfeld 61"/>
          <p:cNvSpPr txBox="1">
            <a:spLocks noChangeArrowheads="1"/>
          </p:cNvSpPr>
          <p:nvPr/>
        </p:nvSpPr>
        <p:spPr bwMode="auto">
          <a:xfrm>
            <a:off x="5258165" y="2546718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57" name="Textfeld 61"/>
          <p:cNvSpPr txBox="1">
            <a:spLocks noChangeArrowheads="1"/>
          </p:cNvSpPr>
          <p:nvPr/>
        </p:nvSpPr>
        <p:spPr bwMode="auto">
          <a:xfrm>
            <a:off x="4983229" y="3799468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cxnSp>
        <p:nvCxnSpPr>
          <p:cNvPr id="58" name="Gerade Verbindung 57"/>
          <p:cNvCxnSpPr/>
          <p:nvPr/>
        </p:nvCxnSpPr>
        <p:spPr bwMode="auto">
          <a:xfrm>
            <a:off x="5799535" y="1304379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extfeld 58"/>
          <p:cNvSpPr txBox="1"/>
          <p:nvPr/>
        </p:nvSpPr>
        <p:spPr>
          <a:xfrm>
            <a:off x="6312070" y="1333093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nkrete Produkte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1619672" y="1345880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cxnSp>
        <p:nvCxnSpPr>
          <p:cNvPr id="26" name="Gerade Verbindung 25"/>
          <p:cNvCxnSpPr/>
          <p:nvPr/>
        </p:nvCxnSpPr>
        <p:spPr bwMode="auto">
          <a:xfrm>
            <a:off x="280286" y="3212976"/>
            <a:ext cx="20272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Gerade Verbindung 61"/>
          <p:cNvCxnSpPr/>
          <p:nvPr/>
        </p:nvCxnSpPr>
        <p:spPr bwMode="auto">
          <a:xfrm>
            <a:off x="2725035" y="3210807"/>
            <a:ext cx="224053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27644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39C7944-BFE7-4B5C-8C70-53ED61D6D4C8}" type="datetime1">
              <a:rPr lang="de-DE" smtClean="0">
                <a:solidFill>
                  <a:srgbClr val="FFFFFF"/>
                </a:solidFill>
              </a:rPr>
              <a:t>17.05.2013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der Berechnung des Jahresbasisbeitrags</a:t>
            </a:r>
          </a:p>
        </p:txBody>
      </p:sp>
      <p:grpSp>
        <p:nvGrpSpPr>
          <p:cNvPr id="4" name="Gruppieren 17"/>
          <p:cNvGrpSpPr>
            <a:grpSpLocks/>
          </p:cNvGrpSpPr>
          <p:nvPr/>
        </p:nvGrpSpPr>
        <p:grpSpPr bwMode="auto">
          <a:xfrm>
            <a:off x="280286" y="2384884"/>
            <a:ext cx="2027237" cy="1152128"/>
            <a:chOff x="254719" y="1019700"/>
            <a:chExt cx="3600000" cy="5159220"/>
          </a:xfrm>
        </p:grpSpPr>
        <p:sp>
          <p:nvSpPr>
            <p:cNvPr id="5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4719" y="2376218"/>
              <a:ext cx="3600000" cy="380270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7200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smtClean="0">
                  <a:solidFill>
                    <a:srgbClr val="005596"/>
                  </a:solidFill>
                </a:rPr>
                <a:t>/</a:t>
              </a:r>
              <a:r>
                <a:rPr lang="en-US" sz="1000" dirty="0" err="1" smtClean="0">
                  <a:solidFill>
                    <a:srgbClr val="005596"/>
                  </a:solidFill>
                </a:rPr>
                <a:t>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b="1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 smtClean="0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()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719" y="1019700"/>
              <a:ext cx="3600000" cy="1356518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HausratZusatzdeck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pieren 21"/>
          <p:cNvGrpSpPr>
            <a:grpSpLocks/>
          </p:cNvGrpSpPr>
          <p:nvPr/>
        </p:nvGrpSpPr>
        <p:grpSpPr bwMode="auto">
          <a:xfrm>
            <a:off x="2723447" y="2384884"/>
            <a:ext cx="2242121" cy="1152128"/>
            <a:chOff x="254719" y="1410245"/>
            <a:chExt cx="3600000" cy="4397289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4719" y="2566432"/>
              <a:ext cx="3600000" cy="324110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: Decima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: Money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 smtClean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 smtClean="0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 smtClean="0">
                  <a:solidFill>
                    <a:srgbClr val="005596"/>
                  </a:solidFill>
                </a:rPr>
                <a:t>(…)</a:t>
              </a:r>
              <a:endParaRPr lang="en-US" sz="1000" b="1" dirty="0">
                <a:solidFill>
                  <a:srgbClr val="005596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7A51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smtClean="0">
                  <a:solidFill>
                    <a:srgbClr val="FFFFFF"/>
                  </a:solidFill>
                </a:rPr>
                <a:t> </a:t>
              </a:r>
              <a:r>
                <a:rPr lang="en-US" sz="1200" dirty="0" err="1" smtClean="0">
                  <a:solidFill>
                    <a:srgbClr val="FFFFFF"/>
                  </a:solidFill>
                </a:rPr>
                <a:t>HausratZusatzdeckungstyp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feld 29"/>
          <p:cNvSpPr txBox="1">
            <a:spLocks noChangeArrowheads="1"/>
          </p:cNvSpPr>
          <p:nvPr/>
        </p:nvSpPr>
        <p:spPr bwMode="auto">
          <a:xfrm>
            <a:off x="2577398" y="2821446"/>
            <a:ext cx="1444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1</a:t>
            </a:r>
          </a:p>
        </p:txBody>
      </p:sp>
      <p:sp>
        <p:nvSpPr>
          <p:cNvPr id="13" name="Textfeld 52"/>
          <p:cNvSpPr txBox="1">
            <a:spLocks noChangeArrowheads="1"/>
          </p:cNvSpPr>
          <p:nvPr/>
        </p:nvSpPr>
        <p:spPr bwMode="auto">
          <a:xfrm>
            <a:off x="2318636" y="2816684"/>
            <a:ext cx="21590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1000">
                <a:solidFill>
                  <a:srgbClr val="005596"/>
                </a:solidFill>
              </a:rPr>
              <a:t>*</a:t>
            </a:r>
          </a:p>
        </p:txBody>
      </p:sp>
      <p:cxnSp>
        <p:nvCxnSpPr>
          <p:cNvPr id="15" name="Gerade Verbindung 57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2307523" y="3112413"/>
            <a:ext cx="415924" cy="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1" name="Ellipse 30"/>
          <p:cNvSpPr>
            <a:spLocks noChangeAspect="1"/>
          </p:cNvSpPr>
          <p:nvPr/>
        </p:nvSpPr>
        <p:spPr bwMode="auto">
          <a:xfrm>
            <a:off x="300027" y="2429890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V</a:t>
            </a:r>
          </a:p>
        </p:txBody>
      </p: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2725035" y="2428349"/>
            <a:ext cx="216000" cy="216000"/>
          </a:xfrm>
          <a:prstGeom prst="ellipse">
            <a:avLst/>
          </a:prstGeom>
          <a:solidFill>
            <a:srgbClr val="7A51C5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grpSp>
        <p:nvGrpSpPr>
          <p:cNvPr id="37" name="Gruppieren 21"/>
          <p:cNvGrpSpPr>
            <a:grpSpLocks/>
          </p:cNvGrpSpPr>
          <p:nvPr/>
        </p:nvGrpSpPr>
        <p:grpSpPr bwMode="auto">
          <a:xfrm>
            <a:off x="6427945" y="2375893"/>
            <a:ext cx="2027238" cy="1423575"/>
            <a:chOff x="254719" y="1410245"/>
            <a:chExt cx="3600000" cy="5433312"/>
          </a:xfrm>
        </p:grpSpPr>
        <p:sp>
          <p:nvSpPr>
            <p:cNvPr id="38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4719" y="2566432"/>
              <a:ext cx="3600000" cy="42771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1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5000EUR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: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versSumme</a:t>
              </a:r>
              <a:r>
                <a:rPr lang="en-US" sz="1000" b="1" dirty="0">
                  <a:solidFill>
                    <a:srgbClr val="005596"/>
                  </a:solidFill>
                </a:rPr>
                <a:t> * </a:t>
              </a:r>
              <a:r>
                <a:rPr lang="en-US" sz="1000" b="1" dirty="0" smtClean="0">
                  <a:solidFill>
                    <a:srgbClr val="005596"/>
                  </a:solidFill>
                </a:rPr>
                <a:t>0.1</a:t>
              </a:r>
              <a:endParaRPr lang="en-US" sz="1000" b="1" dirty="0">
                <a:solidFill>
                  <a:srgbClr val="005596"/>
                </a:solidFill>
              </a:endParaRPr>
            </a:p>
          </p:txBody>
        </p:sp>
        <p:sp>
          <p:nvSpPr>
            <p:cNvPr id="39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4719" y="1410245"/>
              <a:ext cx="3600000" cy="1156183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Fahrraddiebstahl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0" name="Gruppieren 21"/>
          <p:cNvGrpSpPr>
            <a:grpSpLocks/>
          </p:cNvGrpSpPr>
          <p:nvPr/>
        </p:nvGrpSpPr>
        <p:grpSpPr bwMode="auto">
          <a:xfrm>
            <a:off x="6427945" y="4333608"/>
            <a:ext cx="2027238" cy="1425261"/>
            <a:chOff x="254719" y="1410245"/>
            <a:chExt cx="3600000" cy="5439746"/>
          </a:xfrm>
        </p:grpSpPr>
        <p:sp>
          <p:nvSpPr>
            <p:cNvPr id="41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4719" y="2509567"/>
              <a:ext cx="3600000" cy="434042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2880" tIns="72000" rIns="182880" bIns="182880"/>
            <a:lstStyle/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versSummeFaktor</a:t>
              </a:r>
              <a:r>
                <a:rPr lang="en-US" sz="1000" dirty="0" smtClean="0">
                  <a:solidFill>
                    <a:srgbClr val="005596"/>
                  </a:solidFill>
                </a:rPr>
                <a:t>=0.05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dirty="0" err="1" smtClean="0">
                  <a:solidFill>
                    <a:srgbClr val="005596"/>
                  </a:solidFill>
                </a:rPr>
                <a:t>maximaleVersSumme</a:t>
              </a:r>
              <a:r>
                <a:rPr lang="en-US" sz="1000" dirty="0" smtClean="0">
                  <a:solidFill>
                    <a:srgbClr val="005596"/>
                  </a:solidFill>
                </a:rPr>
                <a:t>=null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 err="1">
                  <a:solidFill>
                    <a:srgbClr val="005596"/>
                  </a:solidFill>
                </a:rPr>
                <a:t>berechneJahresbasisbeitrag</a:t>
              </a:r>
              <a:r>
                <a:rPr lang="en-US" sz="1000" b="1" dirty="0">
                  <a:solidFill>
                    <a:srgbClr val="005596"/>
                  </a:solidFill>
                </a:rPr>
                <a:t>: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r>
                <a:rPr lang="en-US" sz="1000" b="1" dirty="0">
                  <a:solidFill>
                    <a:srgbClr val="005596"/>
                  </a:solidFill>
                </a:rPr>
                <a:t>30 EUR + </a:t>
              </a:r>
              <a:r>
                <a:rPr lang="en-US" sz="1000" b="1" dirty="0" err="1">
                  <a:solidFill>
                    <a:srgbClr val="005596"/>
                  </a:solidFill>
                </a:rPr>
                <a:t>versSumme</a:t>
              </a:r>
              <a:r>
                <a:rPr lang="en-US" sz="1000" b="1" dirty="0">
                  <a:solidFill>
                    <a:srgbClr val="005596"/>
                  </a:solidFill>
                </a:rPr>
                <a:t> * 0.03</a:t>
              </a:r>
            </a:p>
            <a:p>
              <a:pPr defTabSz="971550">
                <a:lnSpc>
                  <a:spcPts val="1500"/>
                </a:lnSpc>
                <a:buClr>
                  <a:srgbClr val="005596"/>
                </a:buClr>
              </a:pPr>
              <a:endParaRPr lang="en-US" sz="1000" dirty="0">
                <a:solidFill>
                  <a:srgbClr val="005596"/>
                </a:solidFill>
              </a:endParaRPr>
            </a:p>
          </p:txBody>
        </p:sp>
        <p:sp>
          <p:nvSpPr>
            <p:cNvPr id="42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54719" y="1410245"/>
              <a:ext cx="3600000" cy="1156184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algn="ctr" defTabSz="857250">
                <a:spcAft>
                  <a:spcPts val="600"/>
                </a:spcAft>
              </a:pPr>
              <a:r>
                <a:rPr lang="en-US" sz="1200" dirty="0" err="1" smtClean="0">
                  <a:solidFill>
                    <a:srgbClr val="FFFFFF"/>
                  </a:solidFill>
                </a:rPr>
                <a:t>Überspannung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Ellipse 42"/>
          <p:cNvSpPr>
            <a:spLocks noChangeAspect="1"/>
          </p:cNvSpPr>
          <p:nvPr/>
        </p:nvSpPr>
        <p:spPr bwMode="auto">
          <a:xfrm>
            <a:off x="6463949" y="2419358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sp>
        <p:nvSpPr>
          <p:cNvPr id="44" name="Ellipse 43"/>
          <p:cNvSpPr>
            <a:spLocks noChangeAspect="1"/>
          </p:cNvSpPr>
          <p:nvPr/>
        </p:nvSpPr>
        <p:spPr bwMode="auto">
          <a:xfrm>
            <a:off x="6463949" y="4366695"/>
            <a:ext cx="216000" cy="216000"/>
          </a:xfrm>
          <a:prstGeom prst="ellipse">
            <a:avLst/>
          </a:prstGeom>
          <a:solidFill>
            <a:srgbClr val="00B050"/>
          </a:solidFill>
          <a:ln w="12700" cap="flat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18000" tIns="1800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tabLst>
                <a:tab pos="180975" algn="l"/>
              </a:tabLst>
            </a:pPr>
            <a:r>
              <a:rPr lang="de-DE" sz="1200" b="1" dirty="0" smtClean="0">
                <a:solidFill>
                  <a:srgbClr val="FFFFFF"/>
                </a:solidFill>
                <a:sym typeface="Arial" charset="0"/>
              </a:rPr>
              <a:t>P</a:t>
            </a:r>
          </a:p>
        </p:txBody>
      </p:sp>
      <p:cxnSp>
        <p:nvCxnSpPr>
          <p:cNvPr id="53" name="Gerade Verbindung mit Pfeil 58"/>
          <p:cNvCxnSpPr>
            <a:cxnSpLocks noChangeShapeType="1"/>
          </p:cNvCxnSpPr>
          <p:nvPr/>
        </p:nvCxnSpPr>
        <p:spPr bwMode="auto">
          <a:xfrm flipH="1">
            <a:off x="4968140" y="2830122"/>
            <a:ext cx="145980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54" name="Gerade Verbindung mit Pfeil 58"/>
          <p:cNvCxnSpPr>
            <a:cxnSpLocks noChangeShapeType="1"/>
            <a:stCxn id="41" idx="1"/>
          </p:cNvCxnSpPr>
          <p:nvPr/>
        </p:nvCxnSpPr>
        <p:spPr bwMode="auto">
          <a:xfrm flipH="1" flipV="1">
            <a:off x="4968140" y="2830122"/>
            <a:ext cx="1459805" cy="236013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 type="arrow" w="med" len="med"/>
          </a:ln>
        </p:spPr>
      </p:cxnSp>
      <p:sp>
        <p:nvSpPr>
          <p:cNvPr id="56" name="Textfeld 61"/>
          <p:cNvSpPr txBox="1">
            <a:spLocks noChangeArrowheads="1"/>
          </p:cNvSpPr>
          <p:nvPr/>
        </p:nvSpPr>
        <p:spPr bwMode="auto">
          <a:xfrm>
            <a:off x="5258165" y="2546718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sp>
        <p:nvSpPr>
          <p:cNvPr id="57" name="Textfeld 61"/>
          <p:cNvSpPr txBox="1">
            <a:spLocks noChangeArrowheads="1"/>
          </p:cNvSpPr>
          <p:nvPr/>
        </p:nvSpPr>
        <p:spPr bwMode="auto">
          <a:xfrm>
            <a:off x="4983229" y="3799468"/>
            <a:ext cx="796062" cy="19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3571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de-DE" sz="800" dirty="0">
                <a:solidFill>
                  <a:srgbClr val="005596"/>
                </a:solidFill>
              </a:rPr>
              <a:t>&lt;&lt;</a:t>
            </a:r>
            <a:r>
              <a:rPr lang="de-DE" sz="800" dirty="0" err="1">
                <a:solidFill>
                  <a:srgbClr val="005596"/>
                </a:solidFill>
              </a:rPr>
              <a:t>instanceOf</a:t>
            </a:r>
            <a:r>
              <a:rPr lang="de-DE" sz="800" dirty="0">
                <a:solidFill>
                  <a:srgbClr val="005596"/>
                </a:solidFill>
              </a:rPr>
              <a:t>&gt;&gt;</a:t>
            </a:r>
          </a:p>
        </p:txBody>
      </p:sp>
      <p:cxnSp>
        <p:nvCxnSpPr>
          <p:cNvPr id="58" name="Gerade Verbindung 57"/>
          <p:cNvCxnSpPr/>
          <p:nvPr/>
        </p:nvCxnSpPr>
        <p:spPr bwMode="auto">
          <a:xfrm>
            <a:off x="5799535" y="1304379"/>
            <a:ext cx="0" cy="47165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extfeld 58"/>
          <p:cNvSpPr txBox="1"/>
          <p:nvPr/>
        </p:nvSpPr>
        <p:spPr>
          <a:xfrm>
            <a:off x="6312070" y="1333093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Konkrete Produkte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1619672" y="1345880"/>
            <a:ext cx="2111297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600" dirty="0" smtClean="0">
                <a:solidFill>
                  <a:srgbClr val="005596"/>
                </a:solidFill>
              </a:rPr>
              <a:t>Modell</a:t>
            </a:r>
          </a:p>
        </p:txBody>
      </p:sp>
      <p:cxnSp>
        <p:nvCxnSpPr>
          <p:cNvPr id="26" name="Gerade Verbindung 25"/>
          <p:cNvCxnSpPr/>
          <p:nvPr/>
        </p:nvCxnSpPr>
        <p:spPr bwMode="auto">
          <a:xfrm>
            <a:off x="280286" y="3212976"/>
            <a:ext cx="20272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Gerade Verbindung 61"/>
          <p:cNvCxnSpPr/>
          <p:nvPr/>
        </p:nvCxnSpPr>
        <p:spPr bwMode="auto">
          <a:xfrm>
            <a:off x="2725035" y="3210807"/>
            <a:ext cx="224053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Pfeil nach rechts 32"/>
          <p:cNvSpPr/>
          <p:nvPr/>
        </p:nvSpPr>
        <p:spPr bwMode="auto">
          <a:xfrm>
            <a:off x="4061" y="3334649"/>
            <a:ext cx="324048" cy="202363"/>
          </a:xfrm>
          <a:prstGeom prst="rightArrow">
            <a:avLst/>
          </a:prstGeom>
          <a:solidFill>
            <a:schemeClr val="accent2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34" name="Pfeil nach rechts 33"/>
          <p:cNvSpPr/>
          <p:nvPr/>
        </p:nvSpPr>
        <p:spPr bwMode="auto">
          <a:xfrm>
            <a:off x="2247885" y="3334649"/>
            <a:ext cx="585149" cy="202363"/>
          </a:xfrm>
          <a:prstGeom prst="rightArrow">
            <a:avLst/>
          </a:prstGeom>
          <a:solidFill>
            <a:schemeClr val="accent2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35" name="Pfeil nach rechts 34"/>
          <p:cNvSpPr/>
          <p:nvPr/>
        </p:nvSpPr>
        <p:spPr bwMode="auto">
          <a:xfrm>
            <a:off x="4964363" y="3334649"/>
            <a:ext cx="1607586" cy="202363"/>
          </a:xfrm>
          <a:prstGeom prst="rightArrow">
            <a:avLst/>
          </a:prstGeom>
          <a:solidFill>
            <a:schemeClr val="accent2"/>
          </a:solidFill>
          <a:ln w="12700" cap="flat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72000" tIns="72000" rIns="72000" bIns="72000" rtlCol="0" anchor="t"/>
          <a:lstStyle/>
          <a:p>
            <a:pPr marL="180975" indent="-180975">
              <a:lnSpc>
                <a:spcPct val="90000"/>
              </a:lnSpc>
              <a:spcBef>
                <a:spcPts val="500"/>
              </a:spcBef>
              <a:buClr>
                <a:srgbClr val="585858"/>
              </a:buClr>
              <a:buSzPct val="100000"/>
              <a:buFont typeface="Wingdings" pitchFamily="2" charset="2"/>
              <a:buChar char="§"/>
              <a:tabLst>
                <a:tab pos="180975" algn="l"/>
              </a:tabLst>
            </a:pPr>
            <a:endParaRPr lang="de-DE" sz="1100" dirty="0" err="1" smtClean="0">
              <a:solidFill>
                <a:srgbClr val="585858"/>
              </a:solidFill>
              <a:sym typeface="Arial" charset="0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smtClean="0"/>
              <a:t>III.F-</a:t>
            </a:r>
            <a:fld id="{21FBF85A-D7A6-488B-8C2B-F7E0D684392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1126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xNFDejEuAWw0JNbIW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VuCTp6Ea5gQcd33s.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yYfcen0GY7Wqjy8yp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NVMsJNEiMsLf2PpS3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c.n78QE6T.Njh25jfog"/>
</p:tagLst>
</file>

<file path=ppt/theme/theme1.xml><?xml version="1.0" encoding="utf-8"?>
<a:theme xmlns:a="http://schemas.openxmlformats.org/drawingml/2006/main" name="Master - ConVista General ">
  <a:themeElements>
    <a:clrScheme name="CONVISTA">
      <a:dk1>
        <a:srgbClr val="005596"/>
      </a:dk1>
      <a:lt1>
        <a:srgbClr val="FFFFFF"/>
      </a:lt1>
      <a:dk2>
        <a:srgbClr val="585858"/>
      </a:dk2>
      <a:lt2>
        <a:srgbClr val="B2B2B2"/>
      </a:lt2>
      <a:accent1>
        <a:srgbClr val="39A9DC"/>
      </a:accent1>
      <a:accent2>
        <a:srgbClr val="EE7F00"/>
      </a:accent2>
      <a:accent3>
        <a:srgbClr val="FFFFFF"/>
      </a:accent3>
      <a:accent4>
        <a:srgbClr val="585858"/>
      </a:accent4>
      <a:accent5>
        <a:srgbClr val="B2B2B2"/>
      </a:accent5>
      <a:accent6>
        <a:srgbClr val="172D5F"/>
      </a:accent6>
      <a:hlink>
        <a:srgbClr val="005596"/>
      </a:hlink>
      <a:folHlink>
        <a:srgbClr val="585858"/>
      </a:folHlink>
    </a:clrScheme>
    <a:fontScheme name="Terms of Referenc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>
          <a:solidFill>
            <a:schemeClr val="tx2"/>
          </a:solidFill>
          <a:prstDash val="solid"/>
          <a:miter lim="800000"/>
          <a:headEnd type="none" w="med" len="med"/>
          <a:tailEnd type="none" w="med" len="med"/>
        </a:ln>
        <a:effectLst/>
      </a:spPr>
      <a:bodyPr lIns="72000" tIns="72000" rIns="72000" bIns="72000" rtlCol="0" anchor="t"/>
      <a:lstStyle>
        <a:defPPr marL="180975" indent="-180975" algn="l">
          <a:lnSpc>
            <a:spcPct val="90000"/>
          </a:lnSpc>
          <a:spcBef>
            <a:spcPts val="500"/>
          </a:spcBef>
          <a:buClr>
            <a:schemeClr val="tx2"/>
          </a:buClr>
          <a:buSzPct val="100000"/>
          <a:buFont typeface="Wingdings" pitchFamily="2" charset="2"/>
          <a:buChar char="§"/>
          <a:tabLst>
            <a:tab pos="180975" algn="l"/>
          </a:tabLst>
          <a:defRPr sz="1100" dirty="0" err="1" smtClean="0">
            <a:solidFill>
              <a:schemeClr val="tx2"/>
            </a:solidFill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rms of Reference Master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rms of Reference Master 2">
        <a:dk1>
          <a:srgbClr val="585858"/>
        </a:dk1>
        <a:lt1>
          <a:srgbClr val="FFFFFF"/>
        </a:lt1>
        <a:dk2>
          <a:srgbClr val="585858"/>
        </a:dk2>
        <a:lt2>
          <a:srgbClr val="B2B2B2"/>
        </a:lt2>
        <a:accent1>
          <a:srgbClr val="004C88"/>
        </a:accent1>
        <a:accent2>
          <a:srgbClr val="FF9900"/>
        </a:accent2>
        <a:accent3>
          <a:srgbClr val="FFFFFF"/>
        </a:accent3>
        <a:accent4>
          <a:srgbClr val="4A4A4A"/>
        </a:accent4>
        <a:accent5>
          <a:srgbClr val="AAB2C3"/>
        </a:accent5>
        <a:accent6>
          <a:srgbClr val="E78A00"/>
        </a:accent6>
        <a:hlink>
          <a:srgbClr val="3F649B"/>
        </a:hlink>
        <a:folHlink>
          <a:srgbClr val="A0C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8</Words>
  <Application>Microsoft Office PowerPoint</Application>
  <PresentationFormat>Bildschirmpräsentation (4:3)</PresentationFormat>
  <Paragraphs>186</Paragraphs>
  <Slides>11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2" baseType="lpstr">
      <vt:lpstr>Master - ConVista General </vt:lpstr>
      <vt:lpstr>Inhalt - Modellierung &amp; Produktdefinition</vt:lpstr>
      <vt:lpstr>Fachliche Anforderungen</vt:lpstr>
      <vt:lpstr>Modell der Zusatzdeckungen</vt:lpstr>
      <vt:lpstr>Modell der Zusatzdeckungen mit Produktbausteinen</vt:lpstr>
      <vt:lpstr>Demo: Anlegen der Zusatzdeckungen</vt:lpstr>
      <vt:lpstr>Übungen 1 und 2 zu Kapitel III.F</vt:lpstr>
      <vt:lpstr>Berechnungen mit der Faktor-IPS Formelsprache</vt:lpstr>
      <vt:lpstr>Berücksichtigung der Beitragsberechnung im Modell</vt:lpstr>
      <vt:lpstr>Ablauf der Berechnung des Jahresbasisbeitrags</vt:lpstr>
      <vt:lpstr>Demo: Beitragsberechnung für die Zusatzdeckungen</vt:lpstr>
      <vt:lpstr>Übungen 3 und 4 zu Kapitel III.F</vt:lpstr>
    </vt:vector>
  </TitlesOfParts>
  <Company>Convista Consulting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Master</dc:title>
  <dc:creator>ConVista Consulting AG</dc:creator>
  <dc:description>© ConVista Consulting AG 2012</dc:description>
  <cp:lastModifiedBy>dicker</cp:lastModifiedBy>
  <cp:revision>1627</cp:revision>
  <cp:lastPrinted>2012-11-19T11:42:38Z</cp:lastPrinted>
  <dcterms:created xsi:type="dcterms:W3CDTF">2005-03-22T09:36:15Z</dcterms:created>
  <dcterms:modified xsi:type="dcterms:W3CDTF">2013-05-17T12:21:54Z</dcterms:modified>
  <cp:category>Master</cp:category>
  <cp:contentStatus>RELEASED</cp:contentStatus>
</cp:coreProperties>
</file>